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7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8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9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10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11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12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13.xml" ContentType="application/vnd.openxmlformats-officedocument.theme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1"/>
    <p:sldMasterId id="2147483728" r:id="rId2"/>
    <p:sldMasterId id="2147483757" r:id="rId3"/>
    <p:sldMasterId id="2147483763" r:id="rId4"/>
    <p:sldMasterId id="2147483770" r:id="rId5"/>
    <p:sldMasterId id="2147483782" r:id="rId6"/>
    <p:sldMasterId id="2147483794" r:id="rId7"/>
    <p:sldMasterId id="2147483806" r:id="rId8"/>
    <p:sldMasterId id="2147483819" r:id="rId9"/>
    <p:sldMasterId id="2147483832" r:id="rId10"/>
    <p:sldMasterId id="2147483845" r:id="rId11"/>
    <p:sldMasterId id="2147483859" r:id="rId12"/>
    <p:sldMasterId id="2147483871" r:id="rId13"/>
    <p:sldMasterId id="2147483883" r:id="rId14"/>
  </p:sldMasterIdLst>
  <p:notesMasterIdLst>
    <p:notesMasterId r:id="rId28"/>
  </p:notesMasterIdLst>
  <p:handoutMasterIdLst>
    <p:handoutMasterId r:id="rId29"/>
  </p:handoutMasterIdLst>
  <p:sldIdLst>
    <p:sldId id="962" r:id="rId15"/>
    <p:sldId id="963" r:id="rId16"/>
    <p:sldId id="965" r:id="rId17"/>
    <p:sldId id="969" r:id="rId18"/>
    <p:sldId id="966" r:id="rId19"/>
    <p:sldId id="970" r:id="rId20"/>
    <p:sldId id="967" r:id="rId21"/>
    <p:sldId id="968" r:id="rId22"/>
    <p:sldId id="971" r:id="rId23"/>
    <p:sldId id="974" r:id="rId24"/>
    <p:sldId id="972" r:id="rId25"/>
    <p:sldId id="973" r:id="rId26"/>
    <p:sldId id="960" r:id="rId27"/>
  </p:sldIdLst>
  <p:sldSz cx="9906000" cy="6858000" type="A4"/>
  <p:notesSz cx="6797675" cy="9928225"/>
  <p:defaultTextStyle>
    <a:defPPr>
      <a:defRPr lang="ru-RU"/>
    </a:defPPr>
    <a:lvl1pPr marL="0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1pPr>
    <a:lvl2pPr marL="478912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2pPr>
    <a:lvl3pPr marL="957824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3pPr>
    <a:lvl4pPr marL="1436736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4pPr>
    <a:lvl5pPr marL="1915648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5pPr>
    <a:lvl6pPr marL="2394560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6pPr>
    <a:lvl7pPr marL="2873472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7pPr>
    <a:lvl8pPr marL="3352384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8pPr>
    <a:lvl9pPr marL="3831296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90" userDrawn="1">
          <p15:clr>
            <a:srgbClr val="A4A3A4"/>
          </p15:clr>
        </p15:guide>
        <p15:guide id="2" orient="horz" pos="2332" userDrawn="1">
          <p15:clr>
            <a:srgbClr val="A4A3A4"/>
          </p15:clr>
        </p15:guide>
        <p15:guide id="3" pos="337" userDrawn="1">
          <p15:clr>
            <a:srgbClr val="A4A3A4"/>
          </p15:clr>
        </p15:guide>
        <p15:guide id="4" pos="3120" userDrawn="1">
          <p15:clr>
            <a:srgbClr val="A4A3A4"/>
          </p15:clr>
        </p15:guide>
        <p15:guide id="5" pos="4033" userDrawn="1">
          <p15:clr>
            <a:srgbClr val="A4A3A4"/>
          </p15:clr>
        </p15:guide>
        <p15:guide id="6" pos="2468" userDrawn="1">
          <p15:clr>
            <a:srgbClr val="A4A3A4"/>
          </p15:clr>
        </p15:guide>
        <p15:guide id="7" pos="3293" userDrawn="1">
          <p15:clr>
            <a:srgbClr val="A4A3A4"/>
          </p15:clr>
        </p15:guide>
        <p15:guide id="8" pos="5932" userDrawn="1">
          <p15:clr>
            <a:srgbClr val="A4A3A4"/>
          </p15:clr>
        </p15:guide>
        <p15:guide id="9" pos="5859" userDrawn="1">
          <p15:clr>
            <a:srgbClr val="A4A3A4"/>
          </p15:clr>
        </p15:guide>
        <p15:guide id="10" pos="2802" userDrawn="1">
          <p15:clr>
            <a:srgbClr val="A4A3A4"/>
          </p15:clr>
        </p15:guide>
        <p15:guide id="11" pos="351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Olesya" initials="O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FAFA"/>
    <a:srgbClr val="D9D9D9"/>
    <a:srgbClr val="131008"/>
    <a:srgbClr val="76B531"/>
    <a:srgbClr val="537F23"/>
    <a:srgbClr val="7D71A3"/>
    <a:srgbClr val="52B9E1"/>
    <a:srgbClr val="467DB5"/>
    <a:srgbClr val="955F98"/>
    <a:srgbClr val="7D71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22776" autoAdjust="0"/>
    <p:restoredTop sz="94194" autoAdjust="0"/>
  </p:normalViewPr>
  <p:slideViewPr>
    <p:cSldViewPr>
      <p:cViewPr varScale="1">
        <p:scale>
          <a:sx n="87" d="100"/>
          <a:sy n="87" d="100"/>
        </p:scale>
        <p:origin x="672" y="78"/>
      </p:cViewPr>
      <p:guideLst>
        <p:guide orient="horz" pos="4190"/>
        <p:guide orient="horz" pos="2332"/>
        <p:guide pos="337"/>
        <p:guide pos="3120"/>
        <p:guide pos="4033"/>
        <p:guide pos="2468"/>
        <p:guide pos="3293"/>
        <p:guide pos="5932"/>
        <p:guide pos="5859"/>
        <p:guide pos="2802"/>
        <p:guide pos="351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1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7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2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>
              <a:defRPr sz="1200"/>
            </a:lvl1pPr>
          </a:lstStyle>
          <a:p>
            <a:fld id="{3EFE8F48-518E-45D7-8E2F-81EAFEDACB4B}" type="datetimeFigureOut">
              <a:rPr lang="ru-RU" smtClean="0"/>
              <a:pPr/>
              <a:t>17.03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2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>
              <a:defRPr sz="1200"/>
            </a:lvl1pPr>
          </a:lstStyle>
          <a:p>
            <a:fld id="{D3D3AAB1-C1C3-40FB-A831-6BB6913BE0B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38272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>
              <a:defRPr sz="1200"/>
            </a:lvl1pPr>
          </a:lstStyle>
          <a:p>
            <a:fld id="{116E73D2-0DB3-4D3F-BA46-2F6089FCDCA0}" type="datetimeFigureOut">
              <a:rPr lang="ru-RU" smtClean="0"/>
              <a:pPr/>
              <a:t>17.03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17" tIns="46058" rIns="92117" bIns="46058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2117" tIns="46058" rIns="92117" bIns="46058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2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>
              <a:defRPr sz="1200"/>
            </a:lvl1pPr>
          </a:lstStyle>
          <a:p>
            <a:fld id="{4AEBD501-1932-4DA5-A84C-37914F66083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214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1pPr>
    <a:lvl2pPr marL="437083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2pPr>
    <a:lvl3pPr marL="87416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3pPr>
    <a:lvl4pPr marL="1311250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4pPr>
    <a:lvl5pPr marL="1748333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5pPr>
    <a:lvl6pPr marL="218541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6pPr>
    <a:lvl7pPr marL="2622499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7pPr>
    <a:lvl8pPr marL="3059582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8pPr>
    <a:lvl9pPr marL="349666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8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215857" indent="-214270"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1pPr>
            <a:lvl2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2pPr>
            <a:lvl3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3pPr>
            <a:lvl4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4pPr>
            <a:lvl5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5pPr>
            <a:lvl6pPr marL="2514097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6pPr>
            <a:lvl7pPr marL="2971206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7pPr>
            <a:lvl8pPr marL="3428314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8pPr>
            <a:lvl9pPr marL="3885423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9pPr>
          </a:lstStyle>
          <a:p>
            <a:pPr eaLnBrk="1" hangingPunct="1"/>
            <a:fld id="{12E1E26B-84F8-4B62-968A-0CB938133816}" type="slidenum">
              <a:rPr lang="ru-RU" sz="1200">
                <a:solidFill>
                  <a:srgbClr val="000000"/>
                </a:solidFill>
                <a:latin typeface="Times New Roman" pitchFamily="18" charset="0"/>
              </a:rPr>
              <a:pPr eaLnBrk="1" hangingPunct="1"/>
              <a:t>2</a:t>
            </a:fld>
            <a:endParaRPr lang="ru-RU" sz="12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9699" name="Rectangle 1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75" y="735013"/>
            <a:ext cx="5305425" cy="3675062"/>
          </a:xfrm>
          <a:solidFill>
            <a:srgbClr val="FFFFFF"/>
          </a:solidFill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29700" name="Text Box 2"/>
          <p:cNvSpPr txBox="1">
            <a:spLocks noChangeArrowheads="1"/>
          </p:cNvSpPr>
          <p:nvPr/>
        </p:nvSpPr>
        <p:spPr bwMode="auto">
          <a:xfrm>
            <a:off x="674049" y="4653733"/>
            <a:ext cx="5386090" cy="4409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1422" tIns="45711" rIns="91422" bIns="45711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886755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8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215857" indent="-214270"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1pPr>
            <a:lvl2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2pPr>
            <a:lvl3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3pPr>
            <a:lvl4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4pPr>
            <a:lvl5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5pPr>
            <a:lvl6pPr marL="2514097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6pPr>
            <a:lvl7pPr marL="2971206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7pPr>
            <a:lvl8pPr marL="3428314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8pPr>
            <a:lvl9pPr marL="3885423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9pPr>
          </a:lstStyle>
          <a:p>
            <a:pPr eaLnBrk="1" hangingPunct="1"/>
            <a:fld id="{12E1E26B-84F8-4B62-968A-0CB938133816}" type="slidenum">
              <a:rPr lang="ru-RU" sz="1200">
                <a:solidFill>
                  <a:srgbClr val="000000"/>
                </a:solidFill>
                <a:latin typeface="Times New Roman" pitchFamily="18" charset="0"/>
              </a:rPr>
              <a:pPr eaLnBrk="1" hangingPunct="1"/>
              <a:t>3</a:t>
            </a:fld>
            <a:endParaRPr lang="ru-RU" sz="12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9699" name="Rectangle 1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75" y="735013"/>
            <a:ext cx="5305425" cy="3675062"/>
          </a:xfrm>
          <a:solidFill>
            <a:srgbClr val="FFFFFF"/>
          </a:solidFill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29700" name="Text Box 2"/>
          <p:cNvSpPr txBox="1">
            <a:spLocks noChangeArrowheads="1"/>
          </p:cNvSpPr>
          <p:nvPr/>
        </p:nvSpPr>
        <p:spPr bwMode="auto">
          <a:xfrm>
            <a:off x="674049" y="4653733"/>
            <a:ext cx="5386090" cy="4409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1422" tIns="45711" rIns="91422" bIns="45711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61353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8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215857" indent="-214270"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1pPr>
            <a:lvl2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2pPr>
            <a:lvl3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3pPr>
            <a:lvl4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4pPr>
            <a:lvl5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5pPr>
            <a:lvl6pPr marL="2514097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6pPr>
            <a:lvl7pPr marL="2971206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7pPr>
            <a:lvl8pPr marL="3428314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8pPr>
            <a:lvl9pPr marL="3885423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9pPr>
          </a:lstStyle>
          <a:p>
            <a:pPr eaLnBrk="1" hangingPunct="1"/>
            <a:fld id="{12E1E26B-84F8-4B62-968A-0CB938133816}" type="slidenum">
              <a:rPr lang="ru-RU" sz="1200">
                <a:solidFill>
                  <a:srgbClr val="000000"/>
                </a:solidFill>
                <a:latin typeface="Times New Roman" pitchFamily="18" charset="0"/>
              </a:rPr>
              <a:pPr eaLnBrk="1" hangingPunct="1"/>
              <a:t>4</a:t>
            </a:fld>
            <a:endParaRPr lang="ru-RU" sz="12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9699" name="Rectangle 1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75" y="735013"/>
            <a:ext cx="5305425" cy="3675062"/>
          </a:xfrm>
          <a:solidFill>
            <a:srgbClr val="FFFFFF"/>
          </a:solidFill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29700" name="Text Box 2"/>
          <p:cNvSpPr txBox="1">
            <a:spLocks noChangeArrowheads="1"/>
          </p:cNvSpPr>
          <p:nvPr/>
        </p:nvSpPr>
        <p:spPr bwMode="auto">
          <a:xfrm>
            <a:off x="674049" y="4653733"/>
            <a:ext cx="5386090" cy="4409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1422" tIns="45711" rIns="91422" bIns="45711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20178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8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marL="215857" indent="-214270"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1pPr>
            <a:lvl2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2pPr>
            <a:lvl3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3pPr>
            <a:lvl4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4pPr>
            <a:lvl5pPr eaLnBrk="0" hangingPunct="0"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5pPr>
            <a:lvl6pPr marL="2514097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6pPr>
            <a:lvl7pPr marL="2971206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7pPr>
            <a:lvl8pPr marL="3428314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8pPr>
            <a:lvl9pPr marL="3885423" indent="-228554" defTabSz="44917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449173" algn="l"/>
                <a:tab pos="898345" algn="l"/>
                <a:tab pos="1347518" algn="l"/>
                <a:tab pos="1796691" algn="l"/>
                <a:tab pos="2245864" algn="l"/>
                <a:tab pos="2695036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9pPr>
          </a:lstStyle>
          <a:p>
            <a:pPr eaLnBrk="1" hangingPunct="1"/>
            <a:fld id="{12E1E26B-84F8-4B62-968A-0CB938133816}" type="slidenum">
              <a:rPr lang="ru-RU" sz="1200">
                <a:solidFill>
                  <a:srgbClr val="000000"/>
                </a:solidFill>
                <a:latin typeface="Times New Roman" pitchFamily="18" charset="0"/>
              </a:rPr>
              <a:pPr eaLnBrk="1" hangingPunct="1"/>
              <a:t>5</a:t>
            </a:fld>
            <a:endParaRPr lang="ru-RU" sz="12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9699" name="Rectangle 1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75" y="735013"/>
            <a:ext cx="5305425" cy="3675062"/>
          </a:xfrm>
          <a:solidFill>
            <a:srgbClr val="FFFFFF"/>
          </a:solidFill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29700" name="Text Box 2"/>
          <p:cNvSpPr txBox="1">
            <a:spLocks noChangeArrowheads="1"/>
          </p:cNvSpPr>
          <p:nvPr/>
        </p:nvSpPr>
        <p:spPr bwMode="auto">
          <a:xfrm>
            <a:off x="674049" y="4653733"/>
            <a:ext cx="5386090" cy="4409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1422" tIns="45711" rIns="91422" bIns="45711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27320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11.png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4.emf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tags" Target="../tags/tag19.xml"/><Relationship Id="rId11" Type="http://schemas.openxmlformats.org/officeDocument/2006/relationships/image" Target="../media/image10.emf"/><Relationship Id="rId5" Type="http://schemas.openxmlformats.org/officeDocument/2006/relationships/tags" Target="../tags/tag18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7.xml"/><Relationship Id="rId9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oleObject" Target="../embeddings/oleObject4.bin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image" Target="../media/image9.png"/><Relationship Id="rId2" Type="http://schemas.openxmlformats.org/officeDocument/2006/relationships/tags" Target="../tags/tag22.xml"/><Relationship Id="rId16" Type="http://schemas.openxmlformats.org/officeDocument/2006/relationships/image" Target="../media/image8.emf"/><Relationship Id="rId1" Type="http://schemas.openxmlformats.org/officeDocument/2006/relationships/vmlDrawing" Target="../drawings/vmlDrawing3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30.xml"/><Relationship Id="rId19" Type="http://schemas.openxmlformats.org/officeDocument/2006/relationships/image" Target="../media/image10.emf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image" Target="../media/image11.png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image" Target="../media/image4.emf"/><Relationship Id="rId2" Type="http://schemas.openxmlformats.org/officeDocument/2006/relationships/tags" Target="../tags/tag48.xml"/><Relationship Id="rId1" Type="http://schemas.openxmlformats.org/officeDocument/2006/relationships/vmlDrawing" Target="../drawings/vmlDrawing5.vml"/><Relationship Id="rId6" Type="http://schemas.openxmlformats.org/officeDocument/2006/relationships/tags" Target="../tags/tag52.xml"/><Relationship Id="rId11" Type="http://schemas.openxmlformats.org/officeDocument/2006/relationships/image" Target="../media/image10.emf"/><Relationship Id="rId5" Type="http://schemas.openxmlformats.org/officeDocument/2006/relationships/tags" Target="../tags/tag51.xml"/><Relationship Id="rId10" Type="http://schemas.openxmlformats.org/officeDocument/2006/relationships/oleObject" Target="../embeddings/oleObject6.bin"/><Relationship Id="rId4" Type="http://schemas.openxmlformats.org/officeDocument/2006/relationships/tags" Target="../tags/tag50.xml"/><Relationship Id="rId9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13" Type="http://schemas.openxmlformats.org/officeDocument/2006/relationships/tags" Target="../tags/tag66.xml"/><Relationship Id="rId18" Type="http://schemas.openxmlformats.org/officeDocument/2006/relationships/oleObject" Target="../embeddings/oleObject8.bin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tags" Target="../tags/tag65.xml"/><Relationship Id="rId17" Type="http://schemas.openxmlformats.org/officeDocument/2006/relationships/image" Target="../media/image9.png"/><Relationship Id="rId2" Type="http://schemas.openxmlformats.org/officeDocument/2006/relationships/tags" Target="../tags/tag55.xml"/><Relationship Id="rId16" Type="http://schemas.openxmlformats.org/officeDocument/2006/relationships/image" Target="../media/image8.emf"/><Relationship Id="rId1" Type="http://schemas.openxmlformats.org/officeDocument/2006/relationships/vmlDrawing" Target="../drawings/vmlDrawing6.vml"/><Relationship Id="rId6" Type="http://schemas.openxmlformats.org/officeDocument/2006/relationships/tags" Target="../tags/tag59.xml"/><Relationship Id="rId11" Type="http://schemas.openxmlformats.org/officeDocument/2006/relationships/tags" Target="../tags/tag64.xml"/><Relationship Id="rId5" Type="http://schemas.openxmlformats.org/officeDocument/2006/relationships/tags" Target="../tags/tag58.xml"/><Relationship Id="rId15" Type="http://schemas.openxmlformats.org/officeDocument/2006/relationships/oleObject" Target="../embeddings/oleObject7.bin"/><Relationship Id="rId10" Type="http://schemas.openxmlformats.org/officeDocument/2006/relationships/tags" Target="../tags/tag63.xml"/><Relationship Id="rId19" Type="http://schemas.openxmlformats.org/officeDocument/2006/relationships/image" Target="../media/image10.emf"/><Relationship Id="rId4" Type="http://schemas.openxmlformats.org/officeDocument/2006/relationships/tags" Target="../tags/tag57.xml"/><Relationship Id="rId9" Type="http://schemas.openxmlformats.org/officeDocument/2006/relationships/tags" Target="../tags/tag62.xml"/><Relationship Id="rId14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04490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7" y="5310536"/>
            <a:ext cx="5943600" cy="566738"/>
          </a:xfrm>
        </p:spPr>
        <p:txBody>
          <a:bodyPr anchor="b"/>
          <a:lstStyle>
            <a:lvl1pPr algn="l">
              <a:defRPr sz="2095" b="1">
                <a:solidFill>
                  <a:schemeClr val="accent4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7" y="1124744"/>
            <a:ext cx="5943600" cy="4114800"/>
          </a:xfrm>
        </p:spPr>
        <p:txBody>
          <a:bodyPr/>
          <a:lstStyle>
            <a:lvl1pPr marL="0" indent="0">
              <a:buNone/>
              <a:defRPr sz="3333"/>
            </a:lvl1pPr>
            <a:lvl2pPr marL="477078" indent="0">
              <a:buNone/>
              <a:defRPr sz="2952"/>
            </a:lvl2pPr>
            <a:lvl3pPr marL="954155" indent="0">
              <a:buNone/>
              <a:defRPr sz="2476"/>
            </a:lvl3pPr>
            <a:lvl4pPr marL="1431234" indent="0">
              <a:buNone/>
              <a:defRPr sz="2095"/>
            </a:lvl4pPr>
            <a:lvl5pPr marL="1908311" indent="0">
              <a:buNone/>
              <a:defRPr sz="2095"/>
            </a:lvl5pPr>
            <a:lvl6pPr marL="2385390" indent="0">
              <a:buNone/>
              <a:defRPr sz="2095"/>
            </a:lvl6pPr>
            <a:lvl7pPr marL="2862468" indent="0">
              <a:buNone/>
              <a:defRPr sz="2095"/>
            </a:lvl7pPr>
            <a:lvl8pPr marL="3339546" indent="0">
              <a:buNone/>
              <a:defRPr sz="2095"/>
            </a:lvl8pPr>
            <a:lvl9pPr marL="3816624" indent="0">
              <a:buNone/>
              <a:defRPr sz="2095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7" y="5877274"/>
            <a:ext cx="5943600" cy="804862"/>
          </a:xfrm>
        </p:spPr>
        <p:txBody>
          <a:bodyPr/>
          <a:lstStyle>
            <a:lvl1pPr marL="0" indent="0">
              <a:buNone/>
              <a:defRPr sz="1429">
                <a:solidFill>
                  <a:schemeClr val="accent3"/>
                </a:solidFill>
              </a:defRPr>
            </a:lvl1pPr>
            <a:lvl2pPr marL="477078" indent="0">
              <a:buNone/>
              <a:defRPr sz="1238"/>
            </a:lvl2pPr>
            <a:lvl3pPr marL="954155" indent="0">
              <a:buNone/>
              <a:defRPr sz="1048"/>
            </a:lvl3pPr>
            <a:lvl4pPr marL="1431234" indent="0">
              <a:buNone/>
              <a:defRPr sz="952"/>
            </a:lvl4pPr>
            <a:lvl5pPr marL="1908311" indent="0">
              <a:buNone/>
              <a:defRPr sz="952"/>
            </a:lvl5pPr>
            <a:lvl6pPr marL="2385390" indent="0">
              <a:buNone/>
              <a:defRPr sz="952"/>
            </a:lvl6pPr>
            <a:lvl7pPr marL="2862468" indent="0">
              <a:buNone/>
              <a:defRPr sz="952"/>
            </a:lvl7pPr>
            <a:lvl8pPr marL="3339546" indent="0">
              <a:buNone/>
              <a:defRPr sz="952"/>
            </a:lvl8pPr>
            <a:lvl9pPr marL="3816624" indent="0">
              <a:buNone/>
              <a:defRPr sz="952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14CD46-22B1-45C2-860C-7CCDDFF9C9D5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9934055"/>
      </p:ext>
    </p:extLst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1808074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1861506"/>
      </p:ext>
    </p:extLst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111130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274191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1423279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1925450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8972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39" y="293690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51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53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863743450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187770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5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825" indent="0">
              <a:buNone/>
              <a:defRPr sz="1800"/>
            </a:lvl2pPr>
            <a:lvl3pPr marL="911651" indent="0">
              <a:buNone/>
              <a:defRPr sz="1600"/>
            </a:lvl3pPr>
            <a:lvl4pPr marL="1367481" indent="0">
              <a:buNone/>
              <a:defRPr sz="1400"/>
            </a:lvl4pPr>
            <a:lvl5pPr marL="1823316" indent="0">
              <a:buNone/>
              <a:defRPr sz="1400"/>
            </a:lvl5pPr>
            <a:lvl6pPr marL="2279151" indent="0">
              <a:buNone/>
              <a:defRPr sz="1400"/>
            </a:lvl6pPr>
            <a:lvl7pPr marL="2734982" indent="0">
              <a:buNone/>
              <a:defRPr sz="1400"/>
            </a:lvl7pPr>
            <a:lvl8pPr marL="3190813" indent="0">
              <a:buNone/>
              <a:defRPr sz="1400"/>
            </a:lvl8pPr>
            <a:lvl9pPr marL="3646644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027440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E5E621-2423-45DF-8B26-56147C111484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655211"/>
      </p:ext>
    </p:extLst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1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24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480596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25" indent="0">
              <a:buNone/>
              <a:defRPr sz="2000" b="1"/>
            </a:lvl2pPr>
            <a:lvl3pPr marL="911651" indent="0">
              <a:buNone/>
              <a:defRPr sz="1800" b="1"/>
            </a:lvl3pPr>
            <a:lvl4pPr marL="1367481" indent="0">
              <a:buNone/>
              <a:defRPr sz="1600" b="1"/>
            </a:lvl4pPr>
            <a:lvl5pPr marL="1823316" indent="0">
              <a:buNone/>
              <a:defRPr sz="1600" b="1"/>
            </a:lvl5pPr>
            <a:lvl6pPr marL="2279151" indent="0">
              <a:buNone/>
              <a:defRPr sz="1600" b="1"/>
            </a:lvl6pPr>
            <a:lvl7pPr marL="2734982" indent="0">
              <a:buNone/>
              <a:defRPr sz="1600" b="1"/>
            </a:lvl7pPr>
            <a:lvl8pPr marL="3190813" indent="0">
              <a:buNone/>
              <a:defRPr sz="1600" b="1"/>
            </a:lvl8pPr>
            <a:lvl9pPr marL="364664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38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25" indent="0">
              <a:buNone/>
              <a:defRPr sz="2000" b="1"/>
            </a:lvl2pPr>
            <a:lvl3pPr marL="911651" indent="0">
              <a:buNone/>
              <a:defRPr sz="1800" b="1"/>
            </a:lvl3pPr>
            <a:lvl4pPr marL="1367481" indent="0">
              <a:buNone/>
              <a:defRPr sz="1600" b="1"/>
            </a:lvl4pPr>
            <a:lvl5pPr marL="1823316" indent="0">
              <a:buNone/>
              <a:defRPr sz="1600" b="1"/>
            </a:lvl5pPr>
            <a:lvl6pPr marL="2279151" indent="0">
              <a:buNone/>
              <a:defRPr sz="1600" b="1"/>
            </a:lvl6pPr>
            <a:lvl7pPr marL="2734982" indent="0">
              <a:buNone/>
              <a:defRPr sz="1600" b="1"/>
            </a:lvl7pPr>
            <a:lvl8pPr marL="3190813" indent="0">
              <a:buNone/>
              <a:defRPr sz="1600" b="1"/>
            </a:lvl8pPr>
            <a:lvl9pPr marL="364664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38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0486453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3251414"/>
      </p:ext>
    </p:extLst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274441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2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1435102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5825" indent="0">
              <a:buNone/>
              <a:defRPr sz="1200"/>
            </a:lvl2pPr>
            <a:lvl3pPr marL="911651" indent="0">
              <a:buNone/>
              <a:defRPr sz="1000"/>
            </a:lvl3pPr>
            <a:lvl4pPr marL="1367481" indent="0">
              <a:buNone/>
              <a:defRPr sz="900"/>
            </a:lvl4pPr>
            <a:lvl5pPr marL="1823316" indent="0">
              <a:buNone/>
              <a:defRPr sz="900"/>
            </a:lvl5pPr>
            <a:lvl6pPr marL="2279151" indent="0">
              <a:buNone/>
              <a:defRPr sz="900"/>
            </a:lvl6pPr>
            <a:lvl7pPr marL="2734982" indent="0">
              <a:buNone/>
              <a:defRPr sz="900"/>
            </a:lvl7pPr>
            <a:lvl8pPr marL="3190813" indent="0">
              <a:buNone/>
              <a:defRPr sz="900"/>
            </a:lvl8pPr>
            <a:lvl9pPr marL="364664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8804612"/>
      </p:ext>
    </p:extLst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5825" indent="0">
              <a:buNone/>
              <a:defRPr sz="2800"/>
            </a:lvl2pPr>
            <a:lvl3pPr marL="911651" indent="0">
              <a:buNone/>
              <a:defRPr sz="2400"/>
            </a:lvl3pPr>
            <a:lvl4pPr marL="1367481" indent="0">
              <a:buNone/>
              <a:defRPr sz="2000"/>
            </a:lvl4pPr>
            <a:lvl5pPr marL="1823316" indent="0">
              <a:buNone/>
              <a:defRPr sz="2000"/>
            </a:lvl5pPr>
            <a:lvl6pPr marL="2279151" indent="0">
              <a:buNone/>
              <a:defRPr sz="2000"/>
            </a:lvl6pPr>
            <a:lvl7pPr marL="2734982" indent="0">
              <a:buNone/>
              <a:defRPr sz="2000"/>
            </a:lvl7pPr>
            <a:lvl8pPr marL="3190813" indent="0">
              <a:buNone/>
              <a:defRPr sz="2000"/>
            </a:lvl8pPr>
            <a:lvl9pPr marL="3646644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5825" indent="0">
              <a:buNone/>
              <a:defRPr sz="1200"/>
            </a:lvl2pPr>
            <a:lvl3pPr marL="911651" indent="0">
              <a:buNone/>
              <a:defRPr sz="1000"/>
            </a:lvl3pPr>
            <a:lvl4pPr marL="1367481" indent="0">
              <a:buNone/>
              <a:defRPr sz="900"/>
            </a:lvl4pPr>
            <a:lvl5pPr marL="1823316" indent="0">
              <a:buNone/>
              <a:defRPr sz="900"/>
            </a:lvl5pPr>
            <a:lvl6pPr marL="2279151" indent="0">
              <a:buNone/>
              <a:defRPr sz="900"/>
            </a:lvl6pPr>
            <a:lvl7pPr marL="2734982" indent="0">
              <a:buNone/>
              <a:defRPr sz="900"/>
            </a:lvl7pPr>
            <a:lvl8pPr marL="3190813" indent="0">
              <a:buNone/>
              <a:defRPr sz="900"/>
            </a:lvl8pPr>
            <a:lvl9pPr marL="364664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7178637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374631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57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1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0775323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39950" y="294100"/>
            <a:ext cx="8684944" cy="314028"/>
          </a:xfrm>
        </p:spPr>
        <p:txBody>
          <a:bodyPr/>
          <a:lstStyle>
            <a:lvl1pPr>
              <a:defRPr sz="204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2769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163898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8" y="1124744"/>
            <a:ext cx="2280443" cy="5184576"/>
          </a:xfrm>
        </p:spPr>
        <p:txBody>
          <a:bodyPr vert="eaVert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5" y="1124744"/>
            <a:ext cx="6681390" cy="5184576"/>
          </a:xfrm>
        </p:spPr>
        <p:txBody>
          <a:bodyPr vert="eaVert"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585598-2C0F-4DCA-970D-4CEA01143909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7382860"/>
      </p:ext>
    </p:extLst>
  </p:cSld>
  <p:clrMapOvr>
    <a:masterClrMapping/>
  </p:clrMapOvr>
  <p:transition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699927"/>
      </p:ext>
    </p:extLst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668724"/>
      </p:ext>
    </p:extLst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03812"/>
      </p:ext>
    </p:extLst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1660061"/>
      </p:ext>
    </p:extLst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3225067"/>
      </p:ext>
    </p:extLst>
  </p:cSld>
  <p:clrMapOvr>
    <a:masterClrMapping/>
  </p:clrMapOvr>
  <p:transition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368375"/>
      </p:ext>
    </p:extLst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330012"/>
      </p:ext>
    </p:extLst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140956"/>
      </p:ext>
    </p:extLst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0610900"/>
      </p:ext>
    </p:extLst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7323291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9" y="349866"/>
            <a:ext cx="1037143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hangingPunct="1">
              <a:defRPr/>
            </a:pPr>
            <a:r>
              <a:rPr lang="ru-RU" sz="952" b="1" dirty="0" smtClean="0">
                <a:solidFill>
                  <a:srgbClr val="414142"/>
                </a:solidFill>
                <a:latin typeface="Microsoft Sans Serif"/>
                <a:cs typeface="Microsoft Sans Serif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7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54155" eaLnBrk="1" hangingPunct="1">
              <a:defRPr/>
            </a:pPr>
            <a:endParaRPr lang="ru-RU" sz="857" dirty="0" smtClean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80" y="508601"/>
            <a:ext cx="2991203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hangingPunct="1">
              <a:defRPr/>
            </a:pPr>
            <a:r>
              <a:rPr lang="en-US" sz="952" dirty="0" smtClean="0">
                <a:solidFill>
                  <a:srgbClr val="414142"/>
                </a:solidFill>
                <a:latin typeface="Microsoft Sans Serif"/>
                <a:cs typeface="Microsoft Sans Serif"/>
              </a:rPr>
              <a:t>Last Modified 25.04.2014 19:06 Russian Standard Time</a:t>
            </a:r>
            <a:endParaRPr lang="ru-RU" sz="952" dirty="0" smtClean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656176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hangingPunct="1">
              <a:defRPr/>
            </a:pPr>
            <a:r>
              <a:rPr lang="en-US" sz="952" dirty="0" smtClean="0">
                <a:solidFill>
                  <a:srgbClr val="414142"/>
                </a:solidFill>
                <a:latin typeface="Microsoft Sans Serif"/>
                <a:cs typeface="Microsoft Sans Serif"/>
              </a:rPr>
              <a:t>Printed 24.04.2014 20:59 Russian Standard Time</a:t>
            </a:r>
            <a:endParaRPr lang="ru-RU" sz="952" dirty="0" smtClean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grpSp>
        <p:nvGrpSpPr>
          <p:cNvPr id="2" name="McK Title Elements"/>
          <p:cNvGrpSpPr>
            <a:grpSpLocks/>
          </p:cNvGrpSpPr>
          <p:nvPr/>
        </p:nvGrpSpPr>
        <p:grpSpPr bwMode="auto">
          <a:xfrm>
            <a:off x="2" y="1"/>
            <a:ext cx="990249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54155" eaLnBrk="1" hangingPunct="1">
                <a:defRPr/>
              </a:pPr>
              <a:r>
                <a:rPr lang="ru-RU" sz="1429" dirty="0" smtClean="0">
                  <a:solidFill>
                    <a:srgbClr val="414142"/>
                  </a:solidFill>
                  <a:latin typeface="Microsoft Sans Serif"/>
                  <a:cs typeface="Microsoft Sans Serif"/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54155" eaLnBrk="1" hangingPunct="1">
                <a:defRPr/>
              </a:pPr>
              <a:r>
                <a:rPr lang="ru-RU" sz="1429" dirty="0" smtClean="0">
                  <a:solidFill>
                    <a:srgbClr val="414142"/>
                  </a:solidFill>
                  <a:latin typeface="Microsoft Sans Serif"/>
                  <a:cs typeface="Microsoft Sans Serif"/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05"/>
              <a:ext cx="3226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56906" eaLnBrk="0" hangingPunct="0"/>
              <a:r>
                <a:rPr lang="ru-RU" sz="857" dirty="0" smtClean="0">
                  <a:solidFill>
                    <a:srgbClr val="414142"/>
                  </a:solidFill>
                  <a:cs typeface="Microsoft Sans Serif"/>
                </a:rPr>
                <a:t>КОНФИДЕНЦИАЛЬНАЯ ИНФОРМАЦИЯ, СОБСТВЕННОСТЬ McKINSEY &amp; COMPANY</a:t>
              </a:r>
            </a:p>
            <a:p>
              <a:pPr defTabSz="856906" eaLnBrk="0" hangingPunct="0"/>
              <a:r>
                <a:rPr lang="ru-RU" sz="857" dirty="0" smtClean="0">
                  <a:solidFill>
                    <a:srgbClr val="414142"/>
                  </a:solidFill>
                  <a:cs typeface="Microsoft Sans Serif"/>
                </a:rPr>
                <a:t>Любое использование этого документа без специального разрешения McKinsey &amp; Company строго запрещено</a:t>
              </a:r>
              <a:endParaRPr lang="ru-RU" sz="857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6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208584" y="3175999"/>
            <a:ext cx="5455758" cy="502445"/>
          </a:xfrm>
          <a:prstGeom prst="rect">
            <a:avLst/>
          </a:prstGeom>
        </p:spPr>
        <p:txBody>
          <a:bodyPr/>
          <a:lstStyle>
            <a:lvl1pPr>
              <a:defRPr sz="3429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208584" y="3945699"/>
            <a:ext cx="5455758" cy="241926"/>
          </a:xfrm>
        </p:spPr>
        <p:txBody>
          <a:bodyPr>
            <a:spAutoFit/>
          </a:bodyPr>
          <a:lstStyle>
            <a:lvl1pPr marL="0" indent="0">
              <a:buNone/>
              <a:defRPr sz="1429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096"/>
          <a:stretch/>
        </p:blipFill>
        <p:spPr bwMode="auto">
          <a:xfrm>
            <a:off x="6903217" y="1196754"/>
            <a:ext cx="1169676" cy="1243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0" name="Picture 6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grpSp>
        <p:nvGrpSpPr>
          <p:cNvPr id="23" name="Group 22"/>
          <p:cNvGrpSpPr/>
          <p:nvPr userDrawn="1"/>
        </p:nvGrpSpPr>
        <p:grpSpPr>
          <a:xfrm>
            <a:off x="0" y="0"/>
            <a:ext cx="9906000" cy="980728"/>
            <a:chOff x="0" y="2505596"/>
            <a:chExt cx="6696744" cy="1707025"/>
          </a:xfrm>
        </p:grpSpPr>
        <p:sp>
          <p:nvSpPr>
            <p:cNvPr id="24" name="Rectangle 23"/>
            <p:cNvSpPr/>
            <p:nvPr userDrawn="1"/>
          </p:nvSpPr>
          <p:spPr>
            <a:xfrm>
              <a:off x="0" y="3636557"/>
              <a:ext cx="6696744" cy="5760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0" y="3068960"/>
              <a:ext cx="6696744" cy="5760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3E87BD"/>
                </a:solidFill>
                <a:cs typeface="Microsoft Sans Serif"/>
              </a:endParaRPr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0" y="2505596"/>
              <a:ext cx="6696744" cy="57606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</p:grpSp>
      <p:pic>
        <p:nvPicPr>
          <p:cNvPr id="3" name="Picture 2" descr="kar-word-logo1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80730"/>
            <a:ext cx="3236809" cy="1303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148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54899259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570204"/>
      </p:ext>
    </p:extLst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816761"/>
      </p:ext>
    </p:extLst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511110"/>
      </p:ext>
    </p:extLst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508158"/>
      </p:ext>
    </p:extLst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214911"/>
      </p:ext>
    </p:extLst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40240"/>
      </p:ext>
    </p:extLst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765628"/>
      </p:ext>
    </p:extLst>
  </p:cSld>
  <p:clrMapOvr>
    <a:masterClrMapping/>
  </p:clrMapOvr>
  <p:transition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60154"/>
      </p:ext>
    </p:extLst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68373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381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881031"/>
      </p:ext>
    </p:extLst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65990864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7474093"/>
      </p:ext>
    </p:extLst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9882432"/>
      </p:ext>
    </p:extLst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67928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8956017"/>
      </p:ext>
    </p:extLst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4548037"/>
      </p:ext>
    </p:extLst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745277"/>
      </p:ext>
    </p:extLst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519048"/>
      </p:ext>
    </p:extLst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643684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рки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4" y="1576919"/>
            <a:ext cx="8600216" cy="4581071"/>
          </a:xfrm>
        </p:spPr>
        <p:txBody>
          <a:bodyPr/>
          <a:lstStyle>
            <a:lvl1pPr>
              <a:defRPr b="1"/>
            </a:lvl1pPr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Заголовок (</a:t>
            </a:r>
            <a:r>
              <a:rPr lang="en-US" dirty="0" smtClean="0"/>
              <a:t>Calibri</a:t>
            </a:r>
            <a:r>
              <a:rPr lang="ru-RU" dirty="0" smtClean="0"/>
              <a:t>, 24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Первы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2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2"/>
            <a:r>
              <a:rPr lang="ru-RU" dirty="0" smtClean="0"/>
              <a:t>Второ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Трети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537069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972608"/>
      </p:ext>
    </p:extLst>
  </p:cSld>
  <p:clrMapOvr>
    <a:masterClrMapping/>
  </p:clrMapOvr>
  <p:transition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6793360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марки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5" y="1576918"/>
            <a:ext cx="8531729" cy="4458607"/>
          </a:xfrm>
        </p:spPr>
        <p:txBody>
          <a:bodyPr/>
          <a:lstStyle>
            <a:lvl1pPr>
              <a:defRPr b="1" baseline="0">
                <a:solidFill>
                  <a:schemeClr val="accent3"/>
                </a:solidFill>
              </a:defRPr>
            </a:lvl1pPr>
            <a:lvl2pPr marL="4536" indent="0">
              <a:spcBef>
                <a:spcPts val="571"/>
              </a:spcBef>
              <a:buFontTx/>
              <a:buNone/>
              <a:defRPr baseline="0"/>
            </a:lvl2pPr>
            <a:lvl3pPr marL="774061" indent="-237359" defTabSz="514026">
              <a:buClr>
                <a:schemeClr val="accent3"/>
              </a:buClr>
              <a:buSzPct val="130000"/>
              <a:buFont typeface="Wingdings" pitchFamily="2" charset="2"/>
              <a:buChar char="§"/>
              <a:defRPr sz="1905" baseline="0">
                <a:solidFill>
                  <a:schemeClr val="tx1"/>
                </a:solidFill>
                <a:latin typeface="Microsoft Sans Serif"/>
                <a:cs typeface="Microsoft Sans Serif"/>
              </a:defRPr>
            </a:lvl3pPr>
            <a:lvl4pPr marL="1197375" indent="-237359">
              <a:spcBef>
                <a:spcPts val="571"/>
              </a:spcBef>
              <a:buClr>
                <a:schemeClr val="accent3"/>
              </a:buClr>
              <a:buFont typeface="Arial" pitchFamily="34" charset="0"/>
              <a:buChar char="•"/>
              <a:defRPr sz="1714" baseline="0">
                <a:latin typeface="Microsoft Sans Serif"/>
                <a:cs typeface="Microsoft Sans Serif"/>
              </a:defRPr>
            </a:lvl4pPr>
            <a:lvl5pPr marL="1794552" indent="-326557">
              <a:spcBef>
                <a:spcPts val="0"/>
              </a:spcBef>
              <a:buFont typeface="Calibri" pitchFamily="34" charset="0"/>
              <a:buChar char="–"/>
              <a:defRPr sz="1524" baseline="0"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Заголовок (</a:t>
            </a:r>
            <a:r>
              <a:rPr lang="en-US" dirty="0" smtClean="0"/>
              <a:t>Calibri, 24</a:t>
            </a:r>
            <a:r>
              <a:rPr lang="ru-RU" dirty="0" smtClean="0"/>
              <a:t>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Текст (</a:t>
            </a:r>
            <a:r>
              <a:rPr lang="en-US" dirty="0" smtClean="0"/>
              <a:t>Calibri, 24 </a:t>
            </a:r>
            <a:r>
              <a:rPr lang="ru-RU" dirty="0" err="1" smtClean="0"/>
              <a:t>пт</a:t>
            </a:r>
            <a:r>
              <a:rPr lang="en-US" dirty="0" smtClean="0"/>
              <a:t>)</a:t>
            </a:r>
            <a:endParaRPr lang="ru-RU" dirty="0" smtClean="0"/>
          </a:p>
          <a:p>
            <a:pPr lvl="2"/>
            <a:r>
              <a:rPr lang="ru-RU" dirty="0" smtClean="0"/>
              <a:t>Первый уровень (</a:t>
            </a:r>
            <a:r>
              <a:rPr lang="en-US" dirty="0" smtClean="0"/>
              <a:t>Calibri</a:t>
            </a:r>
            <a:r>
              <a:rPr lang="ru-RU" dirty="0" smtClean="0"/>
              <a:t>, 2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Второй уровень (</a:t>
            </a:r>
            <a:r>
              <a:rPr lang="en-US" dirty="0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4"/>
            <a:r>
              <a:rPr lang="ru-RU" dirty="0" smtClean="0"/>
              <a:t>Третий уровень (</a:t>
            </a:r>
            <a:r>
              <a:rPr lang="en-US" dirty="0" smtClean="0"/>
              <a:t>Calibri, </a:t>
            </a:r>
            <a:r>
              <a:rPr lang="ru-RU" dirty="0" smtClean="0"/>
              <a:t>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9134273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уме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3" y="1576918"/>
            <a:ext cx="8600216" cy="4581071"/>
          </a:xfrm>
        </p:spPr>
        <p:txBody>
          <a:bodyPr/>
          <a:lstStyle>
            <a:lvl1pPr>
              <a:defRPr b="1"/>
            </a:lvl1pPr>
            <a:lvl2pPr marL="912487" indent="-435410">
              <a:buFont typeface="+mj-lt"/>
              <a:buAutoNum type="arabicPeriod"/>
              <a:defRPr/>
            </a:lvl2pPr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Заголовок (</a:t>
            </a:r>
            <a:r>
              <a:rPr lang="ru-RU" dirty="0" err="1" smtClean="0"/>
              <a:t>Calibri</a:t>
            </a:r>
            <a:r>
              <a:rPr lang="ru-RU" dirty="0" smtClean="0"/>
              <a:t>, 24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Второ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Трети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8271655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нуме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5" y="1576918"/>
            <a:ext cx="8531729" cy="4458607"/>
          </a:xfrm>
        </p:spPr>
        <p:txBody>
          <a:bodyPr/>
          <a:lstStyle>
            <a:lvl1pPr>
              <a:defRPr b="1" baseline="0">
                <a:solidFill>
                  <a:schemeClr val="accent3"/>
                </a:solidFill>
              </a:defRPr>
            </a:lvl1pPr>
            <a:lvl2pPr marL="4536" indent="0">
              <a:spcBef>
                <a:spcPts val="571"/>
              </a:spcBef>
              <a:buFontTx/>
              <a:buNone/>
              <a:defRPr baseline="0"/>
            </a:lvl2pPr>
            <a:lvl3pPr marL="972111" indent="-435410" defTabSz="514026">
              <a:buClr>
                <a:schemeClr val="accent3"/>
              </a:buClr>
              <a:buSzPct val="130000"/>
              <a:buFont typeface="+mj-lt"/>
              <a:buAutoNum type="arabicPeriod"/>
              <a:defRPr sz="1905" baseline="0">
                <a:latin typeface="Microsoft Sans Serif"/>
                <a:cs typeface="Microsoft Sans Serif"/>
              </a:defRPr>
            </a:lvl3pPr>
            <a:lvl4pPr marL="1286573" indent="-326557">
              <a:spcBef>
                <a:spcPts val="571"/>
              </a:spcBef>
              <a:buClr>
                <a:schemeClr val="accent3"/>
              </a:buClr>
              <a:buFont typeface="+mj-lt"/>
              <a:buAutoNum type="alphaLcParenR"/>
              <a:defRPr sz="1714" baseline="0">
                <a:latin typeface="Microsoft Sans Serif"/>
                <a:cs typeface="Microsoft Sans Serif"/>
              </a:defRPr>
            </a:lvl4pPr>
            <a:lvl5pPr marL="1794552" indent="-326557">
              <a:spcBef>
                <a:spcPts val="0"/>
              </a:spcBef>
              <a:buFont typeface="Calibri" pitchFamily="34" charset="0"/>
              <a:buChar char="–"/>
              <a:defRPr sz="1524" baseline="0"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Заголовок (</a:t>
            </a:r>
            <a:r>
              <a:rPr lang="en-US" dirty="0" smtClean="0"/>
              <a:t>Calibri, 24</a:t>
            </a:r>
            <a:r>
              <a:rPr lang="ru-RU" dirty="0" smtClean="0"/>
              <a:t>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Текст (</a:t>
            </a:r>
            <a:r>
              <a:rPr lang="en-US" dirty="0" smtClean="0"/>
              <a:t>Calibri, 24 </a:t>
            </a:r>
            <a:r>
              <a:rPr lang="ru-RU" dirty="0" err="1" smtClean="0"/>
              <a:t>пт</a:t>
            </a:r>
            <a:r>
              <a:rPr lang="en-US" dirty="0" smtClean="0"/>
              <a:t>)</a:t>
            </a:r>
            <a:endParaRPr lang="ru-RU" dirty="0" smtClean="0"/>
          </a:p>
          <a:p>
            <a:pPr lvl="2"/>
            <a:r>
              <a:rPr lang="ru-RU" dirty="0" smtClean="0"/>
              <a:t>Первый уровень (</a:t>
            </a:r>
            <a:r>
              <a:rPr lang="en-US" dirty="0" smtClean="0"/>
              <a:t>Calibri</a:t>
            </a:r>
            <a:r>
              <a:rPr lang="ru-RU" dirty="0" smtClean="0"/>
              <a:t>, 2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Второй уровень (</a:t>
            </a:r>
            <a:r>
              <a:rPr lang="en-US" dirty="0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4"/>
            <a:r>
              <a:rPr lang="ru-RU" dirty="0" smtClean="0"/>
              <a:t>Третий уровень (</a:t>
            </a:r>
            <a:r>
              <a:rPr lang="en-US" dirty="0" smtClean="0"/>
              <a:t>Calibri, </a:t>
            </a:r>
            <a:r>
              <a:rPr lang="ru-RU" dirty="0" smtClean="0"/>
              <a:t>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1839567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ой слайд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080" tIns="43540" rIns="87080" bIns="43540" rtlCol="0" anchor="ctr"/>
          <a:lstStyle/>
          <a:p>
            <a:pPr algn="ctr" defTabSz="954155"/>
            <a:endParaRPr lang="ru-RU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7751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3" y="2181253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2952">
                <a:solidFill>
                  <a:schemeClr val="accent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56" y="3284541"/>
            <a:ext cx="4055268" cy="649287"/>
          </a:xfrm>
          <a:ln/>
        </p:spPr>
        <p:txBody>
          <a:bodyPr anchor="ctr"/>
          <a:lstStyle>
            <a:lvl1pPr marL="0" indent="0">
              <a:buFontTx/>
              <a:buNone/>
              <a:defRPr sz="1429" b="1">
                <a:solidFill>
                  <a:schemeClr val="accent4"/>
                </a:solidFill>
              </a:defRPr>
            </a:lvl1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24353596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 чер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080" tIns="43540" rIns="87080" bIns="43540" rtlCol="0" anchor="ctr"/>
          <a:lstStyle/>
          <a:p>
            <a:pPr algn="ctr" defTabSz="954155"/>
            <a:endParaRPr lang="ru-RU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DDD8AE-41E1-471F-8F93-F6F27CD8EE67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16685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18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581082" y="3949080"/>
            <a:ext cx="3796343" cy="2180356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Заголовок (</a:t>
            </a:r>
            <a:r>
              <a:rPr lang="en-US" dirty="0" smtClean="0"/>
              <a:t>Calibri</a:t>
            </a:r>
            <a:r>
              <a:rPr lang="ru-RU" dirty="0" smtClean="0"/>
              <a:t>, 24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Первы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2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2"/>
            <a:r>
              <a:rPr lang="ru-RU" dirty="0" smtClean="0"/>
              <a:t>Второ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Трети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13" hasCustomPrompt="1"/>
          </p:nvPr>
        </p:nvSpPr>
        <p:spPr>
          <a:xfrm>
            <a:off x="5519712" y="3949080"/>
            <a:ext cx="3796343" cy="2180356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Заголовок (</a:t>
            </a:r>
            <a:r>
              <a:rPr lang="en-US" dirty="0" smtClean="0"/>
              <a:t>Calibri</a:t>
            </a:r>
            <a:r>
              <a:rPr lang="ru-RU" dirty="0" smtClean="0"/>
              <a:t>, 24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Первы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2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2"/>
            <a:r>
              <a:rPr lang="ru-RU" dirty="0" smtClean="0"/>
              <a:t>Второ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Трети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  <p:sp>
        <p:nvSpPr>
          <p:cNvPr id="13" name="Рисунок 22"/>
          <p:cNvSpPr>
            <a:spLocks noGrp="1"/>
          </p:cNvSpPr>
          <p:nvPr>
            <p:ph type="pic" sz="quarter" idx="16" hasCustomPrompt="1"/>
          </p:nvPr>
        </p:nvSpPr>
        <p:spPr>
          <a:xfrm>
            <a:off x="592428" y="1936062"/>
            <a:ext cx="1785180" cy="1577318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Место для рисунка</a:t>
            </a:r>
            <a:endParaRPr lang="ru-RU" dirty="0"/>
          </a:p>
        </p:txBody>
      </p:sp>
      <p:sp>
        <p:nvSpPr>
          <p:cNvPr id="14" name="Freeform 145"/>
          <p:cNvSpPr>
            <a:spLocks/>
          </p:cNvSpPr>
          <p:nvPr userDrawn="1"/>
        </p:nvSpPr>
        <p:spPr bwMode="auto">
          <a:xfrm flipV="1">
            <a:off x="592430" y="1632650"/>
            <a:ext cx="1795595" cy="165662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17" name="Freeform 146"/>
          <p:cNvSpPr>
            <a:spLocks/>
          </p:cNvSpPr>
          <p:nvPr userDrawn="1"/>
        </p:nvSpPr>
        <p:spPr bwMode="auto">
          <a:xfrm flipV="1">
            <a:off x="592430" y="3651133"/>
            <a:ext cx="1795595" cy="160790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20" name="Рисунок 22"/>
          <p:cNvSpPr>
            <a:spLocks noGrp="1"/>
          </p:cNvSpPr>
          <p:nvPr>
            <p:ph type="pic" sz="quarter" idx="17" hasCustomPrompt="1"/>
          </p:nvPr>
        </p:nvSpPr>
        <p:spPr>
          <a:xfrm>
            <a:off x="5548369" y="1936062"/>
            <a:ext cx="1785180" cy="1577318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Место для рисунка</a:t>
            </a:r>
            <a:endParaRPr lang="ru-RU" dirty="0"/>
          </a:p>
        </p:txBody>
      </p:sp>
      <p:sp>
        <p:nvSpPr>
          <p:cNvPr id="22" name="Freeform 145"/>
          <p:cNvSpPr>
            <a:spLocks/>
          </p:cNvSpPr>
          <p:nvPr userDrawn="1"/>
        </p:nvSpPr>
        <p:spPr bwMode="auto">
          <a:xfrm flipV="1">
            <a:off x="5548370" y="1632650"/>
            <a:ext cx="1795595" cy="165662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24" name="Freeform 146"/>
          <p:cNvSpPr>
            <a:spLocks/>
          </p:cNvSpPr>
          <p:nvPr userDrawn="1"/>
        </p:nvSpPr>
        <p:spPr bwMode="auto">
          <a:xfrm flipV="1">
            <a:off x="5548370" y="3651133"/>
            <a:ext cx="1795595" cy="160790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grpSp>
        <p:nvGrpSpPr>
          <p:cNvPr id="15" name="Группа 14"/>
          <p:cNvGrpSpPr/>
          <p:nvPr userDrawn="1"/>
        </p:nvGrpSpPr>
        <p:grpSpPr>
          <a:xfrm>
            <a:off x="7321786" y="6319288"/>
            <a:ext cx="1259454" cy="288596"/>
            <a:chOff x="7637420" y="6635252"/>
            <a:chExt cx="1313748" cy="303026"/>
          </a:xfrm>
        </p:grpSpPr>
        <p:sp>
          <p:nvSpPr>
            <p:cNvPr id="16" name="Freeform 287"/>
            <p:cNvSpPr>
              <a:spLocks/>
            </p:cNvSpPr>
            <p:nvPr/>
          </p:nvSpPr>
          <p:spPr bwMode="auto">
            <a:xfrm>
              <a:off x="7637420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1" name="Freeform 288"/>
            <p:cNvSpPr>
              <a:spLocks/>
            </p:cNvSpPr>
            <p:nvPr/>
          </p:nvSpPr>
          <p:spPr bwMode="auto">
            <a:xfrm>
              <a:off x="7860734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3" name="Freeform 289"/>
            <p:cNvSpPr>
              <a:spLocks/>
            </p:cNvSpPr>
            <p:nvPr/>
          </p:nvSpPr>
          <p:spPr bwMode="auto">
            <a:xfrm>
              <a:off x="8084048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5" name="Freeform 290"/>
            <p:cNvSpPr>
              <a:spLocks/>
            </p:cNvSpPr>
            <p:nvPr/>
          </p:nvSpPr>
          <p:spPr bwMode="auto">
            <a:xfrm>
              <a:off x="8307363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6" name="Freeform 291"/>
            <p:cNvSpPr>
              <a:spLocks/>
            </p:cNvSpPr>
            <p:nvPr/>
          </p:nvSpPr>
          <p:spPr bwMode="auto">
            <a:xfrm>
              <a:off x="8753987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7" name="Freeform 292"/>
            <p:cNvSpPr>
              <a:spLocks/>
            </p:cNvSpPr>
            <p:nvPr/>
          </p:nvSpPr>
          <p:spPr bwMode="auto">
            <a:xfrm>
              <a:off x="8530676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8" name="Freeform 293"/>
            <p:cNvSpPr>
              <a:spLocks/>
            </p:cNvSpPr>
            <p:nvPr/>
          </p:nvSpPr>
          <p:spPr bwMode="auto">
            <a:xfrm>
              <a:off x="7860734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9" name="Freeform 294"/>
            <p:cNvSpPr>
              <a:spLocks/>
            </p:cNvSpPr>
            <p:nvPr/>
          </p:nvSpPr>
          <p:spPr bwMode="auto">
            <a:xfrm>
              <a:off x="8084048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0" name="Freeform 295"/>
            <p:cNvSpPr>
              <a:spLocks/>
            </p:cNvSpPr>
            <p:nvPr/>
          </p:nvSpPr>
          <p:spPr bwMode="auto">
            <a:xfrm>
              <a:off x="830736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1" name="Freeform 296"/>
            <p:cNvSpPr>
              <a:spLocks/>
            </p:cNvSpPr>
            <p:nvPr/>
          </p:nvSpPr>
          <p:spPr bwMode="auto">
            <a:xfrm>
              <a:off x="8530676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2" name="Freeform 297"/>
            <p:cNvSpPr>
              <a:spLocks/>
            </p:cNvSpPr>
            <p:nvPr/>
          </p:nvSpPr>
          <p:spPr bwMode="auto">
            <a:xfrm>
              <a:off x="8753987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3" name="Freeform 298"/>
            <p:cNvSpPr>
              <a:spLocks/>
            </p:cNvSpPr>
            <p:nvPr/>
          </p:nvSpPr>
          <p:spPr bwMode="auto">
            <a:xfrm>
              <a:off x="763742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4" name="Freeform 299"/>
            <p:cNvSpPr>
              <a:spLocks/>
            </p:cNvSpPr>
            <p:nvPr/>
          </p:nvSpPr>
          <p:spPr bwMode="auto">
            <a:xfrm>
              <a:off x="7860734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5" name="Freeform 300"/>
            <p:cNvSpPr>
              <a:spLocks/>
            </p:cNvSpPr>
            <p:nvPr/>
          </p:nvSpPr>
          <p:spPr bwMode="auto">
            <a:xfrm>
              <a:off x="8084048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6" name="Freeform 301"/>
            <p:cNvSpPr>
              <a:spLocks/>
            </p:cNvSpPr>
            <p:nvPr/>
          </p:nvSpPr>
          <p:spPr bwMode="auto">
            <a:xfrm>
              <a:off x="830736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7" name="Freeform 302"/>
            <p:cNvSpPr>
              <a:spLocks/>
            </p:cNvSpPr>
            <p:nvPr/>
          </p:nvSpPr>
          <p:spPr bwMode="auto">
            <a:xfrm>
              <a:off x="8530676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8" name="Freeform 303"/>
            <p:cNvSpPr>
              <a:spLocks/>
            </p:cNvSpPr>
            <p:nvPr/>
          </p:nvSpPr>
          <p:spPr bwMode="auto">
            <a:xfrm>
              <a:off x="8753987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9" name="Freeform 304"/>
            <p:cNvSpPr>
              <a:spLocks/>
            </p:cNvSpPr>
            <p:nvPr/>
          </p:nvSpPr>
          <p:spPr bwMode="auto">
            <a:xfrm>
              <a:off x="763742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80548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18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581081" y="1572291"/>
            <a:ext cx="4371158" cy="4452329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Заголовок (</a:t>
            </a:r>
            <a:r>
              <a:rPr lang="en-US" dirty="0" smtClean="0"/>
              <a:t>Calibri</a:t>
            </a:r>
            <a:r>
              <a:rPr lang="ru-RU" dirty="0" smtClean="0"/>
              <a:t>, 24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</a:p>
          <a:p>
            <a:pPr lvl="1"/>
            <a:r>
              <a:rPr lang="ru-RU" dirty="0" smtClean="0"/>
              <a:t>Первы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2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2"/>
            <a:r>
              <a:rPr lang="ru-RU" dirty="0" smtClean="0"/>
              <a:t>Второ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8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3"/>
            <a:r>
              <a:rPr lang="ru-RU" dirty="0" smtClean="0"/>
              <a:t>Третий уровень (</a:t>
            </a:r>
            <a:r>
              <a:rPr lang="ru-RU" dirty="0" err="1" smtClean="0"/>
              <a:t>Calibri</a:t>
            </a:r>
            <a:r>
              <a:rPr lang="ru-RU" dirty="0" smtClean="0"/>
              <a:t>, 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  <p:sp>
        <p:nvSpPr>
          <p:cNvPr id="10" name="Рисунок 22"/>
          <p:cNvSpPr>
            <a:spLocks noGrp="1"/>
          </p:cNvSpPr>
          <p:nvPr>
            <p:ph type="pic" sz="quarter" idx="15" hasCustomPrompt="1"/>
          </p:nvPr>
        </p:nvSpPr>
        <p:spPr>
          <a:xfrm>
            <a:off x="5656969" y="2125999"/>
            <a:ext cx="3659802" cy="338332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Место для рисунка</a:t>
            </a:r>
            <a:endParaRPr lang="ru-RU" dirty="0"/>
          </a:p>
        </p:txBody>
      </p:sp>
      <p:sp>
        <p:nvSpPr>
          <p:cNvPr id="11" name="Freeform 145"/>
          <p:cNvSpPr>
            <a:spLocks/>
          </p:cNvSpPr>
          <p:nvPr userDrawn="1"/>
        </p:nvSpPr>
        <p:spPr bwMode="auto">
          <a:xfrm flipV="1">
            <a:off x="5656970" y="1582591"/>
            <a:ext cx="3659973" cy="337670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12" name="Freeform 146"/>
          <p:cNvSpPr>
            <a:spLocks/>
          </p:cNvSpPr>
          <p:nvPr userDrawn="1"/>
        </p:nvSpPr>
        <p:spPr bwMode="auto">
          <a:xfrm flipV="1">
            <a:off x="5656970" y="5696879"/>
            <a:ext cx="3659973" cy="327739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7321786" y="6319288"/>
            <a:ext cx="1259454" cy="288596"/>
            <a:chOff x="7637420" y="6635252"/>
            <a:chExt cx="1313748" cy="303026"/>
          </a:xfrm>
        </p:grpSpPr>
        <p:sp>
          <p:nvSpPr>
            <p:cNvPr id="13" name="Freeform 287"/>
            <p:cNvSpPr>
              <a:spLocks/>
            </p:cNvSpPr>
            <p:nvPr/>
          </p:nvSpPr>
          <p:spPr bwMode="auto">
            <a:xfrm>
              <a:off x="7637420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4" name="Freeform 288"/>
            <p:cNvSpPr>
              <a:spLocks/>
            </p:cNvSpPr>
            <p:nvPr/>
          </p:nvSpPr>
          <p:spPr bwMode="auto">
            <a:xfrm>
              <a:off x="7860734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5" name="Freeform 289"/>
            <p:cNvSpPr>
              <a:spLocks/>
            </p:cNvSpPr>
            <p:nvPr/>
          </p:nvSpPr>
          <p:spPr bwMode="auto">
            <a:xfrm>
              <a:off x="8084048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6" name="Freeform 290"/>
            <p:cNvSpPr>
              <a:spLocks/>
            </p:cNvSpPr>
            <p:nvPr/>
          </p:nvSpPr>
          <p:spPr bwMode="auto">
            <a:xfrm>
              <a:off x="8307363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7" name="Freeform 291"/>
            <p:cNvSpPr>
              <a:spLocks/>
            </p:cNvSpPr>
            <p:nvPr/>
          </p:nvSpPr>
          <p:spPr bwMode="auto">
            <a:xfrm>
              <a:off x="8753987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9" name="Freeform 292"/>
            <p:cNvSpPr>
              <a:spLocks/>
            </p:cNvSpPr>
            <p:nvPr/>
          </p:nvSpPr>
          <p:spPr bwMode="auto">
            <a:xfrm>
              <a:off x="8530676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0" name="Freeform 293"/>
            <p:cNvSpPr>
              <a:spLocks/>
            </p:cNvSpPr>
            <p:nvPr/>
          </p:nvSpPr>
          <p:spPr bwMode="auto">
            <a:xfrm>
              <a:off x="7860734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1" name="Freeform 294"/>
            <p:cNvSpPr>
              <a:spLocks/>
            </p:cNvSpPr>
            <p:nvPr/>
          </p:nvSpPr>
          <p:spPr bwMode="auto">
            <a:xfrm>
              <a:off x="8084048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2" name="Freeform 295"/>
            <p:cNvSpPr>
              <a:spLocks/>
            </p:cNvSpPr>
            <p:nvPr/>
          </p:nvSpPr>
          <p:spPr bwMode="auto">
            <a:xfrm>
              <a:off x="830736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3" name="Freeform 296"/>
            <p:cNvSpPr>
              <a:spLocks/>
            </p:cNvSpPr>
            <p:nvPr/>
          </p:nvSpPr>
          <p:spPr bwMode="auto">
            <a:xfrm>
              <a:off x="8530676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4" name="Freeform 297"/>
            <p:cNvSpPr>
              <a:spLocks/>
            </p:cNvSpPr>
            <p:nvPr/>
          </p:nvSpPr>
          <p:spPr bwMode="auto">
            <a:xfrm>
              <a:off x="8753987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5" name="Freeform 298"/>
            <p:cNvSpPr>
              <a:spLocks/>
            </p:cNvSpPr>
            <p:nvPr/>
          </p:nvSpPr>
          <p:spPr bwMode="auto">
            <a:xfrm>
              <a:off x="763742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6" name="Freeform 299"/>
            <p:cNvSpPr>
              <a:spLocks/>
            </p:cNvSpPr>
            <p:nvPr/>
          </p:nvSpPr>
          <p:spPr bwMode="auto">
            <a:xfrm>
              <a:off x="7860734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7" name="Freeform 300"/>
            <p:cNvSpPr>
              <a:spLocks/>
            </p:cNvSpPr>
            <p:nvPr/>
          </p:nvSpPr>
          <p:spPr bwMode="auto">
            <a:xfrm>
              <a:off x="8084048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8" name="Freeform 301"/>
            <p:cNvSpPr>
              <a:spLocks/>
            </p:cNvSpPr>
            <p:nvPr/>
          </p:nvSpPr>
          <p:spPr bwMode="auto">
            <a:xfrm>
              <a:off x="830736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9" name="Freeform 302"/>
            <p:cNvSpPr>
              <a:spLocks/>
            </p:cNvSpPr>
            <p:nvPr/>
          </p:nvSpPr>
          <p:spPr bwMode="auto">
            <a:xfrm>
              <a:off x="8530676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0" name="Freeform 303"/>
            <p:cNvSpPr>
              <a:spLocks/>
            </p:cNvSpPr>
            <p:nvPr/>
          </p:nvSpPr>
          <p:spPr bwMode="auto">
            <a:xfrm>
              <a:off x="8753987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1" name="Freeform 304"/>
            <p:cNvSpPr>
              <a:spLocks/>
            </p:cNvSpPr>
            <p:nvPr/>
          </p:nvSpPr>
          <p:spPr bwMode="auto">
            <a:xfrm>
              <a:off x="763742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52463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grpSp>
        <p:nvGrpSpPr>
          <p:cNvPr id="32" name="Группа 31"/>
          <p:cNvGrpSpPr>
            <a:grpSpLocks noChangeAspect="1"/>
          </p:cNvGrpSpPr>
          <p:nvPr userDrawn="1"/>
        </p:nvGrpSpPr>
        <p:grpSpPr>
          <a:xfrm>
            <a:off x="1218653" y="2223823"/>
            <a:ext cx="7324017" cy="2988232"/>
            <a:chOff x="1900645" y="2454346"/>
            <a:chExt cx="6397771" cy="2627564"/>
          </a:xfrm>
        </p:grpSpPr>
        <p:grpSp>
          <p:nvGrpSpPr>
            <p:cNvPr id="31" name="Группа 30"/>
            <p:cNvGrpSpPr/>
            <p:nvPr userDrawn="1"/>
          </p:nvGrpSpPr>
          <p:grpSpPr>
            <a:xfrm>
              <a:off x="1926159" y="2454349"/>
              <a:ext cx="2480948" cy="798517"/>
              <a:chOff x="1926159" y="2454349"/>
              <a:chExt cx="2480948" cy="798517"/>
            </a:xfrm>
          </p:grpSpPr>
          <p:sp>
            <p:nvSpPr>
              <p:cNvPr id="6" name="Line 37"/>
              <p:cNvSpPr>
                <a:spLocks noChangeShapeType="1"/>
              </p:cNvSpPr>
              <p:nvPr/>
            </p:nvSpPr>
            <p:spPr bwMode="auto">
              <a:xfrm flipH="1" flipV="1">
                <a:off x="1926159" y="2469790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7" name="Line 37"/>
              <p:cNvSpPr>
                <a:spLocks noChangeShapeType="1"/>
              </p:cNvSpPr>
              <p:nvPr/>
            </p:nvSpPr>
            <p:spPr bwMode="auto">
              <a:xfrm flipH="1" flipV="1">
                <a:off x="3592706" y="2454349"/>
                <a:ext cx="814401" cy="798517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30" name="Группа 29"/>
            <p:cNvGrpSpPr/>
            <p:nvPr userDrawn="1"/>
          </p:nvGrpSpPr>
          <p:grpSpPr>
            <a:xfrm>
              <a:off x="1936179" y="4317167"/>
              <a:ext cx="2455939" cy="764743"/>
              <a:chOff x="1936179" y="4317167"/>
              <a:chExt cx="2455939" cy="764743"/>
            </a:xfrm>
          </p:grpSpPr>
          <p:sp>
            <p:nvSpPr>
              <p:cNvPr id="9" name="Line 37"/>
              <p:cNvSpPr>
                <a:spLocks noChangeShapeType="1"/>
              </p:cNvSpPr>
              <p:nvPr/>
            </p:nvSpPr>
            <p:spPr bwMode="auto">
              <a:xfrm flipH="1">
                <a:off x="1936179" y="5078536"/>
                <a:ext cx="1691999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0" name="Line 37"/>
              <p:cNvSpPr>
                <a:spLocks noChangeShapeType="1"/>
              </p:cNvSpPr>
              <p:nvPr/>
            </p:nvSpPr>
            <p:spPr bwMode="auto">
              <a:xfrm flipH="1">
                <a:off x="3645797" y="4317167"/>
                <a:ext cx="746321" cy="764743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9" name="Группа 28"/>
            <p:cNvGrpSpPr/>
            <p:nvPr userDrawn="1"/>
          </p:nvGrpSpPr>
          <p:grpSpPr>
            <a:xfrm>
              <a:off x="5846164" y="4332157"/>
              <a:ext cx="2320822" cy="749753"/>
              <a:chOff x="5846164" y="4332157"/>
              <a:chExt cx="2320822" cy="749753"/>
            </a:xfrm>
          </p:grpSpPr>
          <p:sp>
            <p:nvSpPr>
              <p:cNvPr id="12" name="Line 37"/>
              <p:cNvSpPr>
                <a:spLocks noChangeShapeType="1"/>
              </p:cNvSpPr>
              <p:nvPr/>
            </p:nvSpPr>
            <p:spPr bwMode="auto">
              <a:xfrm>
                <a:off x="6474986" y="5078535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3" name="Line 37"/>
              <p:cNvSpPr>
                <a:spLocks noChangeShapeType="1"/>
              </p:cNvSpPr>
              <p:nvPr/>
            </p:nvSpPr>
            <p:spPr bwMode="auto">
              <a:xfrm>
                <a:off x="5846164" y="4332157"/>
                <a:ext cx="630925" cy="749753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8" name="Группа 27"/>
            <p:cNvGrpSpPr/>
            <p:nvPr userDrawn="1"/>
          </p:nvGrpSpPr>
          <p:grpSpPr>
            <a:xfrm>
              <a:off x="5893636" y="2454346"/>
              <a:ext cx="2404780" cy="792000"/>
              <a:chOff x="5893636" y="2454346"/>
              <a:chExt cx="2404780" cy="792000"/>
            </a:xfrm>
          </p:grpSpPr>
          <p:sp>
            <p:nvSpPr>
              <p:cNvPr id="15" name="Line 37"/>
              <p:cNvSpPr>
                <a:spLocks noChangeShapeType="1"/>
              </p:cNvSpPr>
              <p:nvPr/>
            </p:nvSpPr>
            <p:spPr bwMode="auto">
              <a:xfrm flipV="1">
                <a:off x="6606416" y="2457237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6" name="Line 37"/>
              <p:cNvSpPr>
                <a:spLocks noChangeShapeType="1"/>
              </p:cNvSpPr>
              <p:nvPr/>
            </p:nvSpPr>
            <p:spPr bwMode="auto">
              <a:xfrm flipV="1">
                <a:off x="5893636" y="2454346"/>
                <a:ext cx="714992" cy="79200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7" name="Группа 26"/>
            <p:cNvGrpSpPr/>
            <p:nvPr userDrawn="1"/>
          </p:nvGrpSpPr>
          <p:grpSpPr>
            <a:xfrm>
              <a:off x="1900645" y="3756906"/>
              <a:ext cx="2314548" cy="12099"/>
              <a:chOff x="1900645" y="3756906"/>
              <a:chExt cx="2314548" cy="12099"/>
            </a:xfrm>
          </p:grpSpPr>
          <p:sp>
            <p:nvSpPr>
              <p:cNvPr id="19" name="Line 37"/>
              <p:cNvSpPr>
                <a:spLocks noChangeShapeType="1"/>
              </p:cNvSpPr>
              <p:nvPr/>
            </p:nvSpPr>
            <p:spPr bwMode="auto">
              <a:xfrm flipH="1" flipV="1">
                <a:off x="1900645" y="3756907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20" name="Line 37"/>
              <p:cNvSpPr>
                <a:spLocks noChangeShapeType="1"/>
              </p:cNvSpPr>
              <p:nvPr/>
            </p:nvSpPr>
            <p:spPr bwMode="auto">
              <a:xfrm flipH="1">
                <a:off x="3567193" y="3756906"/>
                <a:ext cx="648000" cy="12099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 type="none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6" name="Группа 25"/>
            <p:cNvGrpSpPr/>
            <p:nvPr userDrawn="1"/>
          </p:nvGrpSpPr>
          <p:grpSpPr>
            <a:xfrm>
              <a:off x="6041036" y="3756893"/>
              <a:ext cx="2257380" cy="12102"/>
              <a:chOff x="6041036" y="3756893"/>
              <a:chExt cx="2257380" cy="12102"/>
            </a:xfrm>
          </p:grpSpPr>
          <p:sp>
            <p:nvSpPr>
              <p:cNvPr id="22" name="Line 37"/>
              <p:cNvSpPr>
                <a:spLocks noChangeShapeType="1"/>
              </p:cNvSpPr>
              <p:nvPr/>
            </p:nvSpPr>
            <p:spPr bwMode="auto">
              <a:xfrm flipV="1">
                <a:off x="6606416" y="3756893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23" name="Line 37"/>
              <p:cNvSpPr>
                <a:spLocks noChangeShapeType="1"/>
              </p:cNvSpPr>
              <p:nvPr/>
            </p:nvSpPr>
            <p:spPr bwMode="auto">
              <a:xfrm>
                <a:off x="6041036" y="3762528"/>
                <a:ext cx="590832" cy="6467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</p:grpSp>
      <p:sp>
        <p:nvSpPr>
          <p:cNvPr id="25" name="Рисунок 24"/>
          <p:cNvSpPr>
            <a:spLocks noGrp="1"/>
          </p:cNvSpPr>
          <p:nvPr userDrawn="1">
            <p:ph type="pic" sz="quarter" idx="12"/>
          </p:nvPr>
        </p:nvSpPr>
        <p:spPr>
          <a:xfrm>
            <a:off x="3998588" y="2849205"/>
            <a:ext cx="1829147" cy="1817143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139821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grpSp>
        <p:nvGrpSpPr>
          <p:cNvPr id="32" name="Группа 31"/>
          <p:cNvGrpSpPr>
            <a:grpSpLocks noChangeAspect="1"/>
          </p:cNvGrpSpPr>
          <p:nvPr userDrawn="1"/>
        </p:nvGrpSpPr>
        <p:grpSpPr>
          <a:xfrm>
            <a:off x="1201850" y="2415069"/>
            <a:ext cx="7326043" cy="2664933"/>
            <a:chOff x="1885967" y="2622509"/>
            <a:chExt cx="6399542" cy="2343289"/>
          </a:xfrm>
        </p:grpSpPr>
        <p:grpSp>
          <p:nvGrpSpPr>
            <p:cNvPr id="31" name="Группа 30"/>
            <p:cNvGrpSpPr/>
            <p:nvPr userDrawn="1"/>
          </p:nvGrpSpPr>
          <p:grpSpPr>
            <a:xfrm>
              <a:off x="1913606" y="2635065"/>
              <a:ext cx="2460102" cy="763340"/>
              <a:chOff x="1913606" y="2635065"/>
              <a:chExt cx="2460102" cy="763340"/>
            </a:xfrm>
          </p:grpSpPr>
          <p:sp>
            <p:nvSpPr>
              <p:cNvPr id="6" name="Line 37"/>
              <p:cNvSpPr>
                <a:spLocks noChangeShapeType="1"/>
              </p:cNvSpPr>
              <p:nvPr/>
            </p:nvSpPr>
            <p:spPr bwMode="auto">
              <a:xfrm flipH="1" flipV="1">
                <a:off x="1913606" y="2637953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7" name="Line 37"/>
              <p:cNvSpPr>
                <a:spLocks noChangeShapeType="1"/>
              </p:cNvSpPr>
              <p:nvPr/>
            </p:nvSpPr>
            <p:spPr bwMode="auto">
              <a:xfrm flipH="1" flipV="1">
                <a:off x="3605259" y="2635065"/>
                <a:ext cx="768449" cy="76334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30" name="Группа 29"/>
            <p:cNvGrpSpPr/>
            <p:nvPr userDrawn="1"/>
          </p:nvGrpSpPr>
          <p:grpSpPr>
            <a:xfrm>
              <a:off x="1885967" y="4204191"/>
              <a:ext cx="2455939" cy="761607"/>
              <a:chOff x="1885967" y="4204191"/>
              <a:chExt cx="2455939" cy="761607"/>
            </a:xfrm>
          </p:grpSpPr>
          <p:sp>
            <p:nvSpPr>
              <p:cNvPr id="9" name="Line 37"/>
              <p:cNvSpPr>
                <a:spLocks noChangeShapeType="1"/>
              </p:cNvSpPr>
              <p:nvPr/>
            </p:nvSpPr>
            <p:spPr bwMode="auto">
              <a:xfrm flipH="1">
                <a:off x="1885967" y="4965559"/>
                <a:ext cx="1691999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0" name="Line 37"/>
              <p:cNvSpPr>
                <a:spLocks noChangeShapeType="1"/>
              </p:cNvSpPr>
              <p:nvPr/>
            </p:nvSpPr>
            <p:spPr bwMode="auto">
              <a:xfrm flipH="1">
                <a:off x="3580043" y="4204191"/>
                <a:ext cx="761863" cy="761607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9" name="Группа 28"/>
            <p:cNvGrpSpPr/>
            <p:nvPr userDrawn="1"/>
          </p:nvGrpSpPr>
          <p:grpSpPr>
            <a:xfrm>
              <a:off x="5908929" y="4206627"/>
              <a:ext cx="2376580" cy="746378"/>
              <a:chOff x="5908929" y="4206627"/>
              <a:chExt cx="2376580" cy="746378"/>
            </a:xfrm>
          </p:grpSpPr>
          <p:sp>
            <p:nvSpPr>
              <p:cNvPr id="12" name="Line 37"/>
              <p:cNvSpPr>
                <a:spLocks noChangeShapeType="1"/>
              </p:cNvSpPr>
              <p:nvPr/>
            </p:nvSpPr>
            <p:spPr bwMode="auto">
              <a:xfrm>
                <a:off x="6597246" y="4953005"/>
                <a:ext cx="1688263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3" name="Line 37"/>
              <p:cNvSpPr>
                <a:spLocks noChangeShapeType="1"/>
              </p:cNvSpPr>
              <p:nvPr/>
            </p:nvSpPr>
            <p:spPr bwMode="auto">
              <a:xfrm>
                <a:off x="5908929" y="4206627"/>
                <a:ext cx="700870" cy="746378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8" name="Группа 27"/>
            <p:cNvGrpSpPr/>
            <p:nvPr userDrawn="1"/>
          </p:nvGrpSpPr>
          <p:grpSpPr>
            <a:xfrm>
              <a:off x="5881083" y="2622509"/>
              <a:ext cx="2401043" cy="792000"/>
              <a:chOff x="5881083" y="2622509"/>
              <a:chExt cx="2401043" cy="792000"/>
            </a:xfrm>
          </p:grpSpPr>
          <p:sp>
            <p:nvSpPr>
              <p:cNvPr id="15" name="Line 37"/>
              <p:cNvSpPr>
                <a:spLocks noChangeShapeType="1"/>
              </p:cNvSpPr>
              <p:nvPr/>
            </p:nvSpPr>
            <p:spPr bwMode="auto">
              <a:xfrm flipV="1">
                <a:off x="6593863" y="2625399"/>
                <a:ext cx="1688263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6" name="Line 37"/>
              <p:cNvSpPr>
                <a:spLocks noChangeShapeType="1"/>
              </p:cNvSpPr>
              <p:nvPr/>
            </p:nvSpPr>
            <p:spPr bwMode="auto">
              <a:xfrm flipV="1">
                <a:off x="5881083" y="2622509"/>
                <a:ext cx="714992" cy="79200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</p:grpSp>
      <p:sp>
        <p:nvSpPr>
          <p:cNvPr id="25" name="Рисунок 24"/>
          <p:cNvSpPr>
            <a:spLocks noGrp="1"/>
          </p:cNvSpPr>
          <p:nvPr userDrawn="1">
            <p:ph type="pic" sz="quarter" idx="12"/>
          </p:nvPr>
        </p:nvSpPr>
        <p:spPr>
          <a:xfrm>
            <a:off x="3998588" y="2849205"/>
            <a:ext cx="1829147" cy="1817143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695205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0" y="1303049"/>
            <a:ext cx="9906000" cy="445032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18534" y="5760051"/>
            <a:ext cx="8514457" cy="48069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524" baseline="0">
                <a:solidFill>
                  <a:schemeClr val="accent3"/>
                </a:solidFill>
              </a:defRPr>
            </a:lvl1pPr>
            <a:lvl2pPr>
              <a:spcBef>
                <a:spcPts val="0"/>
              </a:spcBef>
              <a:buClr>
                <a:schemeClr val="accent3"/>
              </a:buClr>
              <a:defRPr sz="1333" baseline="0"/>
            </a:lvl2pPr>
            <a:lvl3pPr marL="1226287" indent="-272130">
              <a:spcBef>
                <a:spcPts val="0"/>
              </a:spcBef>
              <a:buClr>
                <a:schemeClr val="accent3"/>
              </a:buClr>
              <a:buFont typeface="Arial" pitchFamily="34" charset="0"/>
              <a:buChar char="•"/>
              <a:defRPr sz="1333" baseline="0"/>
            </a:lvl3pPr>
            <a:lvl4pPr marL="1431234" indent="0">
              <a:buNone/>
              <a:defRPr/>
            </a:lvl4pPr>
            <a:lvl5pPr marL="1908311" indent="0">
              <a:buNone/>
              <a:defRPr/>
            </a:lvl5pPr>
          </a:lstStyle>
          <a:p>
            <a:pPr lvl="0"/>
            <a:r>
              <a:rPr lang="ru-RU" dirty="0" smtClean="0"/>
              <a:t>Комментарий к изображению (</a:t>
            </a:r>
            <a:r>
              <a:rPr lang="en-US" dirty="0" smtClean="0"/>
              <a:t>Calibri, 1</a:t>
            </a:r>
            <a:r>
              <a:rPr lang="ru-RU" dirty="0" smtClean="0"/>
              <a:t>6</a:t>
            </a:r>
            <a:r>
              <a:rPr lang="en-US" dirty="0" smtClean="0"/>
              <a:t>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1"/>
            <a:r>
              <a:rPr lang="ru-RU" dirty="0" smtClean="0"/>
              <a:t>Первый уровень (</a:t>
            </a:r>
            <a:r>
              <a:rPr lang="en-US" dirty="0" smtClean="0"/>
              <a:t>Calibri,</a:t>
            </a:r>
            <a:r>
              <a:rPr lang="ru-RU" dirty="0" smtClean="0"/>
              <a:t>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554926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1203540" y="1508881"/>
            <a:ext cx="3244148" cy="1988571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5414497" y="1508788"/>
            <a:ext cx="3244148" cy="1988571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1" name="Рисунок 5"/>
          <p:cNvSpPr>
            <a:spLocks noGrp="1"/>
          </p:cNvSpPr>
          <p:nvPr>
            <p:ph type="pic" sz="quarter" idx="14"/>
          </p:nvPr>
        </p:nvSpPr>
        <p:spPr>
          <a:xfrm>
            <a:off x="1207218" y="3837768"/>
            <a:ext cx="3244148" cy="1988571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2" name="Рисунок 5"/>
          <p:cNvSpPr>
            <a:spLocks noGrp="1"/>
          </p:cNvSpPr>
          <p:nvPr>
            <p:ph type="pic" sz="quarter" idx="15"/>
          </p:nvPr>
        </p:nvSpPr>
        <p:spPr>
          <a:xfrm>
            <a:off x="5418176" y="3837674"/>
            <a:ext cx="3244148" cy="1988571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1225125" y="3509481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21687" y="3509055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1225268" y="5858245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9" hasCustomPrompt="1"/>
          </p:nvPr>
        </p:nvSpPr>
        <p:spPr>
          <a:xfrm>
            <a:off x="5421830" y="5857821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702196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850223" y="1508881"/>
            <a:ext cx="2506883" cy="1954286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6504212" y="1508787"/>
            <a:ext cx="2506883" cy="1954286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847601" y="3473195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20"/>
          </p:nvPr>
        </p:nvSpPr>
        <p:spPr>
          <a:xfrm>
            <a:off x="3675208" y="1508787"/>
            <a:ext cx="2506883" cy="1954286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1" hasCustomPrompt="1"/>
          </p:nvPr>
        </p:nvSpPr>
        <p:spPr>
          <a:xfrm>
            <a:off x="3673897" y="3473389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2" hasCustomPrompt="1"/>
          </p:nvPr>
        </p:nvSpPr>
        <p:spPr>
          <a:xfrm>
            <a:off x="6500195" y="3473389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20" name="Рисунок 5"/>
          <p:cNvSpPr>
            <a:spLocks noGrp="1"/>
          </p:cNvSpPr>
          <p:nvPr>
            <p:ph type="pic" sz="quarter" idx="23"/>
          </p:nvPr>
        </p:nvSpPr>
        <p:spPr>
          <a:xfrm>
            <a:off x="858379" y="3880847"/>
            <a:ext cx="2506883" cy="1954286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24"/>
          </p:nvPr>
        </p:nvSpPr>
        <p:spPr>
          <a:xfrm>
            <a:off x="6512368" y="3880752"/>
            <a:ext cx="2506883" cy="1954286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5" hasCustomPrompt="1"/>
          </p:nvPr>
        </p:nvSpPr>
        <p:spPr>
          <a:xfrm>
            <a:off x="855757" y="5845161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23" name="Рисунок 5"/>
          <p:cNvSpPr>
            <a:spLocks noGrp="1"/>
          </p:cNvSpPr>
          <p:nvPr>
            <p:ph type="pic" sz="quarter" idx="26"/>
          </p:nvPr>
        </p:nvSpPr>
        <p:spPr>
          <a:xfrm>
            <a:off x="3683365" y="3880752"/>
            <a:ext cx="2506883" cy="1954286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4" name="Текст 12"/>
          <p:cNvSpPr>
            <a:spLocks noGrp="1"/>
          </p:cNvSpPr>
          <p:nvPr>
            <p:ph type="body" sz="quarter" idx="27" hasCustomPrompt="1"/>
          </p:nvPr>
        </p:nvSpPr>
        <p:spPr>
          <a:xfrm>
            <a:off x="3682053" y="5845356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25" name="Текст 12"/>
          <p:cNvSpPr>
            <a:spLocks noGrp="1"/>
          </p:cNvSpPr>
          <p:nvPr>
            <p:ph type="body" sz="quarter" idx="28" hasCustomPrompt="1"/>
          </p:nvPr>
        </p:nvSpPr>
        <p:spPr>
          <a:xfrm>
            <a:off x="6508351" y="5845356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Подпись (</a:t>
            </a:r>
            <a:r>
              <a:rPr lang="en-US" dirty="0" smtClean="0"/>
              <a:t>Calibri, 14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10833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1223668" y="1508881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6263010" y="1508787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20"/>
          </p:nvPr>
        </p:nvSpPr>
        <p:spPr>
          <a:xfrm>
            <a:off x="3743339" y="1508787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0" name="Рисунок 5"/>
          <p:cNvSpPr>
            <a:spLocks noGrp="1"/>
          </p:cNvSpPr>
          <p:nvPr>
            <p:ph type="pic" sz="quarter" idx="23"/>
          </p:nvPr>
        </p:nvSpPr>
        <p:spPr>
          <a:xfrm>
            <a:off x="1231824" y="3085889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24"/>
          </p:nvPr>
        </p:nvSpPr>
        <p:spPr>
          <a:xfrm>
            <a:off x="6271167" y="3085794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3" name="Рисунок 5"/>
          <p:cNvSpPr>
            <a:spLocks noGrp="1"/>
          </p:cNvSpPr>
          <p:nvPr>
            <p:ph type="pic" sz="quarter" idx="26"/>
          </p:nvPr>
        </p:nvSpPr>
        <p:spPr>
          <a:xfrm>
            <a:off x="3751496" y="3085794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6" name="Рисунок 5"/>
          <p:cNvSpPr>
            <a:spLocks noGrp="1"/>
          </p:cNvSpPr>
          <p:nvPr>
            <p:ph type="pic" sz="quarter" idx="27"/>
          </p:nvPr>
        </p:nvSpPr>
        <p:spPr>
          <a:xfrm>
            <a:off x="1241377" y="4662896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7" name="Рисунок 5"/>
          <p:cNvSpPr>
            <a:spLocks noGrp="1"/>
          </p:cNvSpPr>
          <p:nvPr>
            <p:ph type="pic" sz="quarter" idx="28"/>
          </p:nvPr>
        </p:nvSpPr>
        <p:spPr>
          <a:xfrm>
            <a:off x="6280720" y="4662802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  <p:sp>
        <p:nvSpPr>
          <p:cNvPr id="28" name="Рисунок 5"/>
          <p:cNvSpPr>
            <a:spLocks noGrp="1"/>
          </p:cNvSpPr>
          <p:nvPr>
            <p:ph type="pic" sz="quarter" idx="29"/>
          </p:nvPr>
        </p:nvSpPr>
        <p:spPr>
          <a:xfrm>
            <a:off x="3761048" y="4662802"/>
            <a:ext cx="2123885" cy="1440160"/>
          </a:xfrm>
        </p:spPr>
        <p:txBody>
          <a:bodyPr lIns="71995"/>
          <a:lstStyle/>
          <a:p>
            <a:r>
              <a:rPr lang="ru-RU" dirty="0" smtClean="0"/>
              <a:t>Вставка рису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056898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6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322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303546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B148DC-A899-4108-80E1-A8AA8154927C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1297881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/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9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9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18278" y="349865"/>
            <a:ext cx="1011495" cy="16953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918" b="1" dirty="0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816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18279" y="508600"/>
            <a:ext cx="2909451" cy="16953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918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918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18279" y="668955"/>
            <a:ext cx="2516715" cy="16953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918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918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grpSp>
        <p:nvGrpSpPr>
          <p:cNvPr id="9" name="McK Title Elements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1" y="1"/>
            <a:ext cx="9902490" cy="6859620"/>
            <a:chOff x="0" y="0"/>
            <a:chExt cx="5643" cy="4235"/>
          </a:xfrm>
        </p:grpSpPr>
        <p:sp>
          <p:nvSpPr>
            <p:cNvPr id="10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76"/>
              <a:ext cx="3109" cy="16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428" dirty="0" smtClean="0">
                  <a:solidFill>
                    <a:srgbClr val="000000"/>
                  </a:solidFill>
                  <a:ea typeface="ＭＳ Ｐゴシック" panose="020B0600070205080204" pitchFamily="34" charset="-128"/>
                  <a:cs typeface="Arial"/>
                </a:rPr>
                <a:t>Тип документа</a:t>
              </a:r>
            </a:p>
          </p:txBody>
        </p:sp>
        <p:sp>
          <p:nvSpPr>
            <p:cNvPr id="11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428" dirty="0" smtClean="0">
                  <a:solidFill>
                    <a:srgbClr val="000000"/>
                  </a:solidFill>
                  <a:ea typeface="ＭＳ Ｐゴシック" panose="020B0600070205080204" pitchFamily="34" charset="-128"/>
                  <a:cs typeface="Arial"/>
                </a:rPr>
                <a:t>Дата</a:t>
              </a:r>
            </a:p>
          </p:txBody>
        </p:sp>
        <p:sp>
          <p:nvSpPr>
            <p:cNvPr id="12" name="McK Disclaimer" hidden="1"/>
            <p:cNvSpPr>
              <a:spLocks noChangeArrowheads="1"/>
            </p:cNvSpPr>
            <p:nvPr/>
          </p:nvSpPr>
          <p:spPr bwMode="auto">
            <a:xfrm>
              <a:off x="1663" y="3589"/>
              <a:ext cx="3226" cy="27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defTabSz="821202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816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КОНФИДЕНЦИАЛЬНАЯ ИНФОРМАЦИЯ, СОБСТВЕННОСТЬ McKINSEY &amp; COMPANY</a:t>
              </a:r>
            </a:p>
            <a:p>
              <a:pPr defTabSz="821202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816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3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  <p:sp>
          <p:nvSpPr>
            <p:cNvPr id="14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  <p:sp>
          <p:nvSpPr>
            <p:cNvPr id="15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5" y="6574545"/>
            <a:ext cx="1809226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navigation8" descr="ujkm,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985" y="299654"/>
            <a:ext cx="1851343" cy="151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8279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8279" y="3945699"/>
            <a:ext cx="5455757" cy="219820"/>
          </a:xfrm>
        </p:spPr>
        <p:txBody>
          <a:bodyPr/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39419789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40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8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859772" y="1970589"/>
            <a:ext cx="193803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5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990417" y="4188829"/>
            <a:ext cx="167674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6" name="McK 1. On-page tracker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0387" y="27536"/>
            <a:ext cx="876843" cy="263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428" dirty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31613" y="945932"/>
            <a:ext cx="9526956" cy="30748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8" name="McK 4. Footnot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31613" y="6228458"/>
            <a:ext cx="9449744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9" name="McK 5. Source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1613" y="6579405"/>
            <a:ext cx="7586117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10" name="ACET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605668" y="1035018"/>
            <a:ext cx="4713466" cy="633321"/>
            <a:chOff x="915" y="639"/>
            <a:chExt cx="2686" cy="391"/>
          </a:xfrm>
        </p:grpSpPr>
        <p:cxnSp>
          <p:nvCxnSpPr>
            <p:cNvPr id="11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13" name="Line 16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131613" y="6454684"/>
            <a:ext cx="963224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sp>
        <p:nvSpPr>
          <p:cNvPr id="14" name="Line 1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140386" y="902198"/>
            <a:ext cx="962522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pic>
        <p:nvPicPr>
          <p:cNvPr id="15" name="navigation8" descr="ujkm,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9594" y="37255"/>
            <a:ext cx="980948" cy="801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Connector 5"/>
          <p:cNvCxnSpPr/>
          <p:nvPr>
            <p:custDataLst>
              <p:tags r:id="rId12"/>
            </p:custDataLst>
          </p:nvPr>
        </p:nvCxnSpPr>
        <p:spPr>
          <a:xfrm>
            <a:off x="8951374" y="6555108"/>
            <a:ext cx="0" cy="30289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17" name="Slide Number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9446235" y="6629616"/>
            <a:ext cx="231637" cy="155496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fld id="{33B6FCEB-DD5C-44FE-8EF4-08F021D26B83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graphicFrame>
        <p:nvGraphicFramePr>
          <p:cNvPr id="18" name="Object 2"/>
          <p:cNvGraphicFramePr>
            <a:graphicFrameLocks noChangeAspect="1"/>
          </p:cNvGraphicFramePr>
          <p:nvPr/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41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18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39947" y="301936"/>
            <a:ext cx="8684943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89846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966" y="293174"/>
            <a:ext cx="1814491" cy="1482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513457"/>
            <a:ext cx="8970433" cy="367413"/>
          </a:xfrm>
          <a:ln/>
        </p:spPr>
        <p:txBody>
          <a:bodyPr/>
          <a:lstStyle>
            <a:lvl1pPr>
              <a:lnSpc>
                <a:spcPct val="130000"/>
              </a:lnSpc>
              <a:defRPr sz="1837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499271"/>
            <a:ext cx="4055269" cy="219820"/>
          </a:xfrm>
          <a:ln/>
        </p:spPr>
        <p:txBody>
          <a:bodyPr anchor="ctr"/>
          <a:lstStyle>
            <a:lvl1pPr marL="0" indent="0">
              <a:buFontTx/>
              <a:buNone/>
              <a:defRPr sz="1428" b="1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429009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742950" y="6248400"/>
            <a:ext cx="206375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ja-JP" sz="2000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8400"/>
            <a:ext cx="31369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ja-JP" sz="2000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8400"/>
            <a:ext cx="206375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ja-JP" altLang="ja-JP" sz="2000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435637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/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86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90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18279" y="349865"/>
            <a:ext cx="1011495" cy="16953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918" b="1" dirty="0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816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18281" y="508600"/>
            <a:ext cx="2909451" cy="16953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918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918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18280" y="668955"/>
            <a:ext cx="2516715" cy="16953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918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918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grpSp>
        <p:nvGrpSpPr>
          <p:cNvPr id="9" name="McK Title Elements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1" y="1"/>
            <a:ext cx="9902490" cy="6859620"/>
            <a:chOff x="0" y="0"/>
            <a:chExt cx="5643" cy="4235"/>
          </a:xfrm>
        </p:grpSpPr>
        <p:sp>
          <p:nvSpPr>
            <p:cNvPr id="10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76"/>
              <a:ext cx="3109" cy="16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428" dirty="0" smtClean="0">
                  <a:solidFill>
                    <a:srgbClr val="000000"/>
                  </a:solidFill>
                  <a:ea typeface="ＭＳ Ｐゴシック" panose="020B0600070205080204" pitchFamily="34" charset="-128"/>
                  <a:cs typeface="Arial"/>
                </a:rPr>
                <a:t>Тип документа</a:t>
              </a:r>
            </a:p>
          </p:txBody>
        </p:sp>
        <p:sp>
          <p:nvSpPr>
            <p:cNvPr id="11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428" dirty="0" smtClean="0">
                  <a:solidFill>
                    <a:srgbClr val="000000"/>
                  </a:solidFill>
                  <a:ea typeface="ＭＳ Ｐゴシック" panose="020B0600070205080204" pitchFamily="34" charset="-128"/>
                  <a:cs typeface="Arial"/>
                </a:rPr>
                <a:t>Дата</a:t>
              </a:r>
            </a:p>
          </p:txBody>
        </p:sp>
        <p:sp>
          <p:nvSpPr>
            <p:cNvPr id="12" name="McK Disclaimer" hidden="1"/>
            <p:cNvSpPr>
              <a:spLocks noChangeArrowheads="1"/>
            </p:cNvSpPr>
            <p:nvPr/>
          </p:nvSpPr>
          <p:spPr bwMode="auto">
            <a:xfrm>
              <a:off x="1663" y="3589"/>
              <a:ext cx="3226" cy="27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defTabSz="821202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816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КОНФИДЕНЦИАЛЬНАЯ ИНФОРМАЦИЯ, СОБСТВЕННОСТЬ McKINSEY &amp; COMPANY</a:t>
              </a:r>
            </a:p>
            <a:p>
              <a:pPr defTabSz="821202" eaLnBrk="0" fontAlgn="base" hangingPunct="0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816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3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  <p:sp>
          <p:nvSpPr>
            <p:cNvPr id="14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  <p:sp>
          <p:nvSpPr>
            <p:cNvPr id="15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7"/>
            <a:ext cx="1809226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navigation8" descr="ujkm,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985" y="299654"/>
            <a:ext cx="1851343" cy="1511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8280" y="3175998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8280" y="3945699"/>
            <a:ext cx="5455757" cy="219820"/>
          </a:xfrm>
        </p:spPr>
        <p:txBody>
          <a:bodyPr/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  <p:extLst>
      <p:ext uri="{BB962C8B-B14F-4D97-AF65-F5344CB8AC3E}">
        <p14:creationId xmlns:p14="http://schemas.microsoft.com/office/powerpoint/2010/main" val="350502621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62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179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859773" y="1970589"/>
            <a:ext cx="193803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5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990418" y="4188829"/>
            <a:ext cx="167674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6" name="McK 1. On-page tracker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0388" y="27536"/>
            <a:ext cx="876843" cy="263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428" dirty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31614" y="945932"/>
            <a:ext cx="9526956" cy="30748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8" name="McK 4. Footnot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31614" y="6228460"/>
            <a:ext cx="9449744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9" name="McK 5. Source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1613" y="6579407"/>
            <a:ext cx="7586118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10" name="ACET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605668" y="1035020"/>
            <a:ext cx="4713466" cy="633321"/>
            <a:chOff x="915" y="639"/>
            <a:chExt cx="2686" cy="391"/>
          </a:xfrm>
        </p:grpSpPr>
        <p:cxnSp>
          <p:nvCxnSpPr>
            <p:cNvPr id="11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13" name="Line 16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131613" y="6454684"/>
            <a:ext cx="963224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sp>
        <p:nvSpPr>
          <p:cNvPr id="14" name="Line 1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140386" y="902198"/>
            <a:ext cx="962522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pic>
        <p:nvPicPr>
          <p:cNvPr id="15" name="navigation8" descr="ujkm,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9594" y="37257"/>
            <a:ext cx="980948" cy="801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Connector 5"/>
          <p:cNvCxnSpPr/>
          <p:nvPr>
            <p:custDataLst>
              <p:tags r:id="rId12"/>
            </p:custDataLst>
          </p:nvPr>
        </p:nvCxnSpPr>
        <p:spPr>
          <a:xfrm>
            <a:off x="8951374" y="6555108"/>
            <a:ext cx="0" cy="30289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17" name="Slide Number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9446236" y="6629616"/>
            <a:ext cx="231637" cy="155496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fld id="{33B6FCEB-DD5C-44FE-8EF4-08F021D26B83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graphicFrame>
        <p:nvGraphicFramePr>
          <p:cNvPr id="18" name="Object 2"/>
          <p:cNvGraphicFramePr>
            <a:graphicFrameLocks noChangeAspect="1"/>
          </p:cNvGraphicFramePr>
          <p:nvPr/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63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17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39948" y="301936"/>
            <a:ext cx="8684943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407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967" y="293174"/>
            <a:ext cx="1814491" cy="1482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1" y="2513459"/>
            <a:ext cx="8970433" cy="367413"/>
          </a:xfrm>
          <a:ln/>
        </p:spPr>
        <p:txBody>
          <a:bodyPr/>
          <a:lstStyle>
            <a:lvl1pPr>
              <a:lnSpc>
                <a:spcPct val="130000"/>
              </a:lnSpc>
              <a:defRPr sz="1837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1" y="3499271"/>
            <a:ext cx="4055269" cy="219820"/>
          </a:xfrm>
          <a:ln/>
        </p:spPr>
        <p:txBody>
          <a:bodyPr anchor="ctr"/>
          <a:lstStyle>
            <a:lvl1pPr marL="0" indent="0">
              <a:buFontTx/>
              <a:buNone/>
              <a:defRPr sz="1428" b="1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485325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742950" y="6248400"/>
            <a:ext cx="206375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ja-JP" sz="2000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8400"/>
            <a:ext cx="31369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en-US" altLang="ja-JP" sz="2000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8400"/>
            <a:ext cx="206375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ja-JP" altLang="ja-JP" sz="2000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908502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2959763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630594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8"/>
            <a:ext cx="8420100" cy="1362075"/>
          </a:xfrm>
        </p:spPr>
        <p:txBody>
          <a:bodyPr anchor="t"/>
          <a:lstStyle>
            <a:lvl1pPr algn="l">
              <a:defRPr sz="4191" b="1" cap="all">
                <a:solidFill>
                  <a:srgbClr val="0D6186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95">
                <a:solidFill>
                  <a:schemeClr val="accent4"/>
                </a:solidFill>
              </a:defRPr>
            </a:lvl1pPr>
            <a:lvl2pPr marL="477078" indent="0">
              <a:buNone/>
              <a:defRPr sz="1905"/>
            </a:lvl2pPr>
            <a:lvl3pPr marL="954155" indent="0">
              <a:buNone/>
              <a:defRPr sz="1714"/>
            </a:lvl3pPr>
            <a:lvl4pPr marL="1431234" indent="0">
              <a:buNone/>
              <a:defRPr sz="1429"/>
            </a:lvl4pPr>
            <a:lvl5pPr marL="1908311" indent="0">
              <a:buNone/>
              <a:defRPr sz="1429"/>
            </a:lvl5pPr>
            <a:lvl6pPr marL="2385390" indent="0">
              <a:buNone/>
              <a:defRPr sz="1429"/>
            </a:lvl6pPr>
            <a:lvl7pPr marL="2862468" indent="0">
              <a:buNone/>
              <a:defRPr sz="1429"/>
            </a:lvl7pPr>
            <a:lvl8pPr marL="3339546" indent="0">
              <a:buNone/>
              <a:defRPr sz="1429"/>
            </a:lvl8pPr>
            <a:lvl9pPr marL="3816624" indent="0">
              <a:buNone/>
              <a:defRPr sz="1429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ADE5BF-2111-44D3-B6B6-E84876A33987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033782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3225034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6622744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355452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989433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786694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931750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3049194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819362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3831337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7790352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54" y="1125539"/>
            <a:ext cx="4480057" cy="5148262"/>
          </a:xfrm>
        </p:spPr>
        <p:txBody>
          <a:bodyPr/>
          <a:lstStyle>
            <a:lvl1pPr>
              <a:defRPr sz="2952"/>
            </a:lvl1pPr>
            <a:lvl2pPr>
              <a:defRPr sz="2476"/>
            </a:lvl2pPr>
            <a:lvl3pPr>
              <a:defRPr sz="2095">
                <a:latin typeface="Microsoft Sans Serif"/>
                <a:cs typeface="Microsoft Sans Serif"/>
              </a:defRPr>
            </a:lvl3pPr>
            <a:lvl4pPr>
              <a:defRPr sz="1905">
                <a:latin typeface="Microsoft Sans Serif"/>
                <a:cs typeface="Microsoft Sans Serif"/>
              </a:defRPr>
            </a:lvl4pPr>
            <a:lvl5pPr>
              <a:defRPr sz="1905">
                <a:latin typeface="Microsoft Sans Serif"/>
                <a:cs typeface="Microsoft Sans Serif"/>
              </a:defRPr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10" y="1125539"/>
            <a:ext cx="4481777" cy="5148262"/>
          </a:xfrm>
        </p:spPr>
        <p:txBody>
          <a:bodyPr/>
          <a:lstStyle>
            <a:lvl1pPr>
              <a:defRPr sz="2952"/>
            </a:lvl1pPr>
            <a:lvl2pPr>
              <a:defRPr sz="2476"/>
            </a:lvl2pPr>
            <a:lvl3pPr>
              <a:defRPr sz="2095">
                <a:latin typeface="Microsoft Sans Serif"/>
                <a:cs typeface="Microsoft Sans Serif"/>
              </a:defRPr>
            </a:lvl3pPr>
            <a:lvl4pPr>
              <a:defRPr sz="1905">
                <a:latin typeface="Microsoft Sans Serif"/>
                <a:cs typeface="Microsoft Sans Serif"/>
              </a:defRPr>
            </a:lvl4pPr>
            <a:lvl5pPr>
              <a:defRPr sz="1905">
                <a:latin typeface="Microsoft Sans Serif"/>
                <a:cs typeface="Microsoft Sans Serif"/>
              </a:defRPr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327D1E-8760-4F75-8A65-E901FBF993B8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645044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321537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495835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2966310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6371358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06419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831662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649112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217700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7679881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98065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2" y="1535113"/>
            <a:ext cx="4376870" cy="639762"/>
          </a:xfrm>
        </p:spPr>
        <p:txBody>
          <a:bodyPr anchor="b"/>
          <a:lstStyle>
            <a:lvl1pPr marL="0" indent="0">
              <a:buNone/>
              <a:defRPr sz="2476" b="1"/>
            </a:lvl1pPr>
            <a:lvl2pPr marL="477078" indent="0">
              <a:buNone/>
              <a:defRPr sz="2095" b="1"/>
            </a:lvl2pPr>
            <a:lvl3pPr marL="954155" indent="0">
              <a:buNone/>
              <a:defRPr sz="1905" b="1"/>
            </a:lvl3pPr>
            <a:lvl4pPr marL="1431234" indent="0">
              <a:buNone/>
              <a:defRPr sz="1714" b="1"/>
            </a:lvl4pPr>
            <a:lvl5pPr marL="1908311" indent="0">
              <a:buNone/>
              <a:defRPr sz="1714" b="1"/>
            </a:lvl5pPr>
            <a:lvl6pPr marL="2385390" indent="0">
              <a:buNone/>
              <a:defRPr sz="1714" b="1"/>
            </a:lvl6pPr>
            <a:lvl7pPr marL="2862468" indent="0">
              <a:buNone/>
              <a:defRPr sz="1714" b="1"/>
            </a:lvl7pPr>
            <a:lvl8pPr marL="3339546" indent="0">
              <a:buNone/>
              <a:defRPr sz="1714" b="1"/>
            </a:lvl8pPr>
            <a:lvl9pPr marL="3816624" indent="0">
              <a:buNone/>
              <a:defRPr sz="1714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2" y="2174875"/>
            <a:ext cx="4376870" cy="3951288"/>
          </a:xfrm>
        </p:spPr>
        <p:txBody>
          <a:bodyPr/>
          <a:lstStyle>
            <a:lvl1pPr>
              <a:defRPr sz="2476"/>
            </a:lvl1pPr>
            <a:lvl2pPr>
              <a:defRPr sz="2095"/>
            </a:lvl2pPr>
            <a:lvl3pPr>
              <a:defRPr sz="1905">
                <a:latin typeface="Microsoft Sans Serif"/>
                <a:cs typeface="Microsoft Sans Serif"/>
              </a:defRPr>
            </a:lvl3pPr>
            <a:lvl4pPr>
              <a:defRPr sz="1714">
                <a:latin typeface="Microsoft Sans Serif"/>
                <a:cs typeface="Microsoft Sans Serif"/>
              </a:defRPr>
            </a:lvl4pPr>
            <a:lvl5pPr>
              <a:defRPr sz="1714">
                <a:latin typeface="Microsoft Sans Serif"/>
                <a:cs typeface="Microsoft Sans Serif"/>
              </a:defRPr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6" y="1535113"/>
            <a:ext cx="4378589" cy="639762"/>
          </a:xfrm>
        </p:spPr>
        <p:txBody>
          <a:bodyPr anchor="b"/>
          <a:lstStyle>
            <a:lvl1pPr marL="0" indent="0">
              <a:buNone/>
              <a:defRPr sz="2476" b="1"/>
            </a:lvl1pPr>
            <a:lvl2pPr marL="477078" indent="0">
              <a:buNone/>
              <a:defRPr sz="2095" b="1"/>
            </a:lvl2pPr>
            <a:lvl3pPr marL="954155" indent="0">
              <a:buNone/>
              <a:defRPr sz="1905" b="1"/>
            </a:lvl3pPr>
            <a:lvl4pPr marL="1431234" indent="0">
              <a:buNone/>
              <a:defRPr sz="1714" b="1"/>
            </a:lvl4pPr>
            <a:lvl5pPr marL="1908311" indent="0">
              <a:buNone/>
              <a:defRPr sz="1714" b="1"/>
            </a:lvl5pPr>
            <a:lvl6pPr marL="2385390" indent="0">
              <a:buNone/>
              <a:defRPr sz="1714" b="1"/>
            </a:lvl6pPr>
            <a:lvl7pPr marL="2862468" indent="0">
              <a:buNone/>
              <a:defRPr sz="1714" b="1"/>
            </a:lvl7pPr>
            <a:lvl8pPr marL="3339546" indent="0">
              <a:buNone/>
              <a:defRPr sz="1714" b="1"/>
            </a:lvl8pPr>
            <a:lvl9pPr marL="3816624" indent="0">
              <a:buNone/>
              <a:defRPr sz="1714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6" y="2174875"/>
            <a:ext cx="4378589" cy="3951288"/>
          </a:xfrm>
        </p:spPr>
        <p:txBody>
          <a:bodyPr/>
          <a:lstStyle>
            <a:lvl1pPr>
              <a:defRPr sz="2476"/>
            </a:lvl1pPr>
            <a:lvl2pPr>
              <a:defRPr sz="2095"/>
            </a:lvl2pPr>
            <a:lvl3pPr>
              <a:defRPr sz="1905">
                <a:latin typeface="Microsoft Sans Serif"/>
                <a:cs typeface="Microsoft Sans Serif"/>
              </a:defRPr>
            </a:lvl3pPr>
            <a:lvl4pPr>
              <a:defRPr sz="1714">
                <a:latin typeface="Microsoft Sans Serif"/>
                <a:cs typeface="Microsoft Sans Serif"/>
              </a:defRPr>
            </a:lvl4pPr>
            <a:lvl5pPr>
              <a:defRPr sz="1714">
                <a:latin typeface="Microsoft Sans Serif"/>
                <a:cs typeface="Microsoft Sans Serif"/>
              </a:defRPr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766AFC-AA4B-411A-9543-C99A410D6C67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649925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241230319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1271504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602975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33574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411972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952908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177879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1875047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406325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072609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FB4AB1-B8EC-415D-AE03-A9C01327FDA6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6416357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2636692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837064815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818922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768469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5913117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210990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1069361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4295131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868725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1613579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25F091-A418-48E2-B21B-9DD2A9739E1C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075619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0588309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5964566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82932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13284126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609799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139995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134062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3186763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7034523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4267566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1176261"/>
            <a:ext cx="3259005" cy="1019356"/>
          </a:xfrm>
        </p:spPr>
        <p:txBody>
          <a:bodyPr anchor="b"/>
          <a:lstStyle>
            <a:lvl1pPr algn="l">
              <a:defRPr sz="209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1176288"/>
            <a:ext cx="5537729" cy="5134378"/>
          </a:xfrm>
        </p:spPr>
        <p:txBody>
          <a:bodyPr/>
          <a:lstStyle>
            <a:lvl1pPr>
              <a:defRPr sz="3333"/>
            </a:lvl1pPr>
            <a:lvl2pPr>
              <a:defRPr sz="2952"/>
            </a:lvl2pPr>
            <a:lvl3pPr>
              <a:defRPr sz="2476">
                <a:latin typeface="Microsoft Sans Serif"/>
                <a:cs typeface="Microsoft Sans Serif"/>
              </a:defRPr>
            </a:lvl3pPr>
            <a:lvl4pPr>
              <a:defRPr sz="2095">
                <a:latin typeface="Microsoft Sans Serif"/>
                <a:cs typeface="Microsoft Sans Serif"/>
              </a:defRPr>
            </a:lvl4pPr>
            <a:lvl5pPr>
              <a:defRPr sz="2095">
                <a:latin typeface="Microsoft Sans Serif"/>
                <a:cs typeface="Microsoft Sans Serif"/>
              </a:defRPr>
            </a:lvl5pPr>
            <a:lvl6pPr>
              <a:defRPr sz="2095"/>
            </a:lvl6pPr>
            <a:lvl7pPr>
              <a:defRPr sz="2095"/>
            </a:lvl7pPr>
            <a:lvl8pPr>
              <a:defRPr sz="2095"/>
            </a:lvl8pPr>
            <a:lvl9pPr>
              <a:defRPr sz="2095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2338317"/>
            <a:ext cx="3259005" cy="4115022"/>
          </a:xfrm>
        </p:spPr>
        <p:txBody>
          <a:bodyPr/>
          <a:lstStyle>
            <a:lvl1pPr marL="0" indent="0">
              <a:buNone/>
              <a:defRPr sz="1429"/>
            </a:lvl1pPr>
            <a:lvl2pPr marL="477078" indent="0">
              <a:buNone/>
              <a:defRPr sz="1238"/>
            </a:lvl2pPr>
            <a:lvl3pPr marL="954155" indent="0">
              <a:buNone/>
              <a:defRPr sz="1048"/>
            </a:lvl3pPr>
            <a:lvl4pPr marL="1431234" indent="0">
              <a:buNone/>
              <a:defRPr sz="952"/>
            </a:lvl4pPr>
            <a:lvl5pPr marL="1908311" indent="0">
              <a:buNone/>
              <a:defRPr sz="952"/>
            </a:lvl5pPr>
            <a:lvl6pPr marL="2385390" indent="0">
              <a:buNone/>
              <a:defRPr sz="952"/>
            </a:lvl6pPr>
            <a:lvl7pPr marL="2862468" indent="0">
              <a:buNone/>
              <a:defRPr sz="952"/>
            </a:lvl7pPr>
            <a:lvl8pPr marL="3339546" indent="0">
              <a:buNone/>
              <a:defRPr sz="952"/>
            </a:lvl8pPr>
            <a:lvl9pPr marL="3816624" indent="0">
              <a:buNone/>
              <a:defRPr sz="95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1AA80B-22DD-4FF4-9344-A437B7BC5601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432188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3514131"/>
      </p:ext>
    </p:extLst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361926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2123170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1917401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6356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56906863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685063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040345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225577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64369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96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5" Type="http://schemas.openxmlformats.org/officeDocument/2006/relationships/image" Target="../media/image13.png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image" Target="../media/image12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08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5" Type="http://schemas.openxmlformats.org/officeDocument/2006/relationships/image" Target="../media/image13.png"/><Relationship Id="rId10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image" Target="../media/image15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25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image" Target="../media/image13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7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36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11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134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33.xml"/><Relationship Id="rId9" Type="http://schemas.openxmlformats.org/officeDocument/2006/relationships/slideLayout" Target="../slideLayouts/slideLayout138.xml"/><Relationship Id="rId14" Type="http://schemas.openxmlformats.org/officeDocument/2006/relationships/image" Target="../media/image13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147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4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Relationship Id="rId14" Type="http://schemas.openxmlformats.org/officeDocument/2006/relationships/image" Target="../media/image1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26" Type="http://schemas.openxmlformats.org/officeDocument/2006/relationships/slideLayout" Target="../slideLayouts/slideLayout27.xml"/><Relationship Id="rId3" Type="http://schemas.openxmlformats.org/officeDocument/2006/relationships/slideLayout" Target="../slideLayouts/slideLayout4.xml"/><Relationship Id="rId21" Type="http://schemas.openxmlformats.org/officeDocument/2006/relationships/slideLayout" Target="../slideLayouts/slideLayout22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slideLayout" Target="../slideLayouts/slideLayout26.xml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0" Type="http://schemas.openxmlformats.org/officeDocument/2006/relationships/slideLayout" Target="../slideLayouts/slideLayout21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24" Type="http://schemas.openxmlformats.org/officeDocument/2006/relationships/slideLayout" Target="../slideLayouts/slideLayout25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23" Type="http://schemas.openxmlformats.org/officeDocument/2006/relationships/slideLayout" Target="../slideLayouts/slideLayout24.xml"/><Relationship Id="rId28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11.xml"/><Relationship Id="rId19" Type="http://schemas.openxmlformats.org/officeDocument/2006/relationships/slideLayout" Target="../slideLayouts/slideLayout20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slideLayout" Target="../slideLayouts/slideLayout23.xml"/><Relationship Id="rId27" Type="http://schemas.openxmlformats.org/officeDocument/2006/relationships/slideLayout" Target="../slideLayouts/slideLayout28.xml"/><Relationship Id="rId30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32.xml"/><Relationship Id="rId21" Type="http://schemas.openxmlformats.org/officeDocument/2006/relationships/oleObject" Target="../embeddings/oleObject1.bin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" Type="http://schemas.openxmlformats.org/officeDocument/2006/relationships/slideLayout" Target="../slideLayouts/slideLayout31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30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5" Type="http://schemas.openxmlformats.org/officeDocument/2006/relationships/theme" Target="../theme/theme3.xml"/><Relationship Id="rId15" Type="http://schemas.openxmlformats.org/officeDocument/2006/relationships/tags" Target="../tags/tag9.xml"/><Relationship Id="rId23" Type="http://schemas.openxmlformats.org/officeDocument/2006/relationships/image" Target="../media/image9.png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33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image" Target="../media/image8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3" Type="http://schemas.openxmlformats.org/officeDocument/2006/relationships/slideLayout" Target="../slideLayouts/slideLayout36.xml"/><Relationship Id="rId21" Type="http://schemas.openxmlformats.org/officeDocument/2006/relationships/oleObject" Target="../embeddings/oleObject5.bin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43.xml"/><Relationship Id="rId20" Type="http://schemas.openxmlformats.org/officeDocument/2006/relationships/tags" Target="../tags/tag47.xml"/><Relationship Id="rId1" Type="http://schemas.openxmlformats.org/officeDocument/2006/relationships/slideLayout" Target="../slideLayouts/slideLayout34.xml"/><Relationship Id="rId6" Type="http://schemas.openxmlformats.org/officeDocument/2006/relationships/vmlDrawing" Target="../drawings/vmlDrawing4.vml"/><Relationship Id="rId11" Type="http://schemas.openxmlformats.org/officeDocument/2006/relationships/tags" Target="../tags/tag38.xml"/><Relationship Id="rId5" Type="http://schemas.openxmlformats.org/officeDocument/2006/relationships/theme" Target="../theme/theme4.xml"/><Relationship Id="rId15" Type="http://schemas.openxmlformats.org/officeDocument/2006/relationships/tags" Target="../tags/tag42.xml"/><Relationship Id="rId23" Type="http://schemas.openxmlformats.org/officeDocument/2006/relationships/image" Target="../media/image9.png"/><Relationship Id="rId10" Type="http://schemas.openxmlformats.org/officeDocument/2006/relationships/tags" Target="../tags/tag37.xml"/><Relationship Id="rId19" Type="http://schemas.openxmlformats.org/officeDocument/2006/relationships/tags" Target="../tags/tag46.xml"/><Relationship Id="rId4" Type="http://schemas.openxmlformats.org/officeDocument/2006/relationships/slideLayout" Target="../slideLayouts/slideLayout37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image" Target="../media/image8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image" Target="../media/image13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image" Target="../media/image13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image" Target="../media/image13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image" Target="../media/image13.png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image" Target="../media/image12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4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image" Target="../media/image13.png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image" Target="../media/image1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32332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</p:sldLayoutIdLst>
  <p:hf hdr="0" ftr="0" dt="0"/>
  <p:txStyles>
    <p:titleStyle>
      <a:lvl1pPr algn="ctr" defTabSz="870875" rtl="0" eaLnBrk="1" latinLnBrk="0" hangingPunct="1">
        <a:spcBef>
          <a:spcPct val="0"/>
        </a:spcBef>
        <a:buNone/>
        <a:defRPr sz="419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26578" indent="-326578" algn="l" defTabSz="870875" rtl="0" eaLnBrk="1" latinLnBrk="0" hangingPunct="1">
        <a:spcBef>
          <a:spcPct val="20000"/>
        </a:spcBef>
        <a:buFont typeface="Arial" pitchFamily="34" charset="0"/>
        <a:buChar char="•"/>
        <a:defRPr sz="3048" kern="1200">
          <a:solidFill>
            <a:schemeClr val="tx1"/>
          </a:solidFill>
          <a:latin typeface="+mn-lt"/>
          <a:ea typeface="+mn-ea"/>
          <a:cs typeface="+mn-cs"/>
        </a:defRPr>
      </a:lvl1pPr>
      <a:lvl2pPr marL="707586" indent="-272148" algn="l" defTabSz="870875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088593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2286" kern="1200">
          <a:solidFill>
            <a:schemeClr val="tx1"/>
          </a:solidFill>
          <a:latin typeface="+mn-lt"/>
          <a:ea typeface="+mn-ea"/>
          <a:cs typeface="+mn-cs"/>
        </a:defRPr>
      </a:lvl3pPr>
      <a:lvl4pPr marL="1524030" indent="-217719" algn="l" defTabSz="870875" rtl="0" eaLnBrk="1" latinLnBrk="0" hangingPunct="1">
        <a:spcBef>
          <a:spcPct val="20000"/>
        </a:spcBef>
        <a:buFont typeface="Arial" pitchFamily="34" charset="0"/>
        <a:buChar char="–"/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59468" indent="-217719" algn="l" defTabSz="870875" rtl="0" eaLnBrk="1" latinLnBrk="0" hangingPunct="1">
        <a:spcBef>
          <a:spcPct val="20000"/>
        </a:spcBef>
        <a:buFont typeface="Arial" pitchFamily="34" charset="0"/>
        <a:buChar char="»"/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394905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830342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265780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701217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1pPr>
      <a:lvl2pPr marL="435437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2pPr>
      <a:lvl3pPr marL="870875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3pPr>
      <a:lvl4pPr marL="1306312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4pPr>
      <a:lvl5pPr marL="1741749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5pPr>
      <a:lvl6pPr marL="2177186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6pPr>
      <a:lvl7pPr marL="2612624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7pPr>
      <a:lvl8pPr marL="3048061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8pPr>
      <a:lvl9pPr marL="3483498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7910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  <p:sldLayoutId id="2147483840" r:id="rId8"/>
    <p:sldLayoutId id="2147483841" r:id="rId9"/>
    <p:sldLayoutId id="2147483842" r:id="rId10"/>
    <p:sldLayoutId id="2147483843" r:id="rId11"/>
    <p:sldLayoutId id="2147483844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51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8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1105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  <p:sldLayoutId id="2147483853" r:id="rId8"/>
    <p:sldLayoutId id="2147483854" r:id="rId9"/>
    <p:sldLayoutId id="2147483855" r:id="rId10"/>
    <p:sldLayoutId id="2147483856" r:id="rId11"/>
    <p:sldLayoutId id="2147483858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582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165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6748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331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433" indent="-180433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9287" indent="-17726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58562" indent="-2674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0291" indent="-2279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67066" indent="-2279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2895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8725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34556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0386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25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651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481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316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151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982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813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6644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445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4445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55662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  <p:sldLayoutId id="2147483889" r:id="rId6"/>
    <p:sldLayoutId id="2147483890" r:id="rId7"/>
    <p:sldLayoutId id="2147483891" r:id="rId8"/>
    <p:sldLayoutId id="2147483892" r:id="rId9"/>
    <p:sldLayoutId id="2147483893" r:id="rId10"/>
    <p:sldLayoutId id="2147483894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0" y="8468"/>
            <a:ext cx="8229364" cy="980728"/>
            <a:chOff x="0" y="2505596"/>
            <a:chExt cx="6696744" cy="1707025"/>
          </a:xfrm>
        </p:grpSpPr>
        <p:sp>
          <p:nvSpPr>
            <p:cNvPr id="2" name="Rectangle 1"/>
            <p:cNvSpPr/>
            <p:nvPr userDrawn="1"/>
          </p:nvSpPr>
          <p:spPr>
            <a:xfrm>
              <a:off x="0" y="3636557"/>
              <a:ext cx="6696744" cy="5760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0" y="3068960"/>
              <a:ext cx="6696744" cy="5760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3E87BD"/>
                </a:solidFill>
                <a:cs typeface="Microsoft Sans Serif"/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0" y="2505596"/>
              <a:ext cx="6696744" cy="57606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</p:grpSp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165468" y="6381328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714" b="1">
                <a:solidFill>
                  <a:schemeClr val="accent2"/>
                </a:solidFill>
                <a:latin typeface="Microsoft Sans Serif"/>
                <a:cs typeface="Microsoft Sans Serif"/>
              </a:defRPr>
            </a:lvl1pPr>
          </a:lstStyle>
          <a:p>
            <a:pPr defTabSz="954155">
              <a:defRPr/>
            </a:pPr>
            <a:fld id="{78BE5482-BCD3-488D-889D-C7CA54C942EE}" type="slidenum">
              <a:rPr lang="ru-RU" smtClean="0">
                <a:solidFill>
                  <a:srgbClr val="0D6186"/>
                </a:solidFill>
              </a:rPr>
              <a:pPr defTabSz="954155"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9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6" name="Rectangle 5"/>
          <p:cNvSpPr/>
          <p:nvPr/>
        </p:nvSpPr>
        <p:spPr>
          <a:xfrm rot="10800000">
            <a:off x="6981226" y="1"/>
            <a:ext cx="1610396" cy="1105519"/>
          </a:xfrm>
          <a:custGeom>
            <a:avLst/>
            <a:gdLst>
              <a:gd name="connsiteX0" fmla="*/ 0 w 1080120"/>
              <a:gd name="connsiteY0" fmla="*/ 0 h 1080120"/>
              <a:gd name="connsiteX1" fmla="*/ 1080120 w 1080120"/>
              <a:gd name="connsiteY1" fmla="*/ 0 h 1080120"/>
              <a:gd name="connsiteX2" fmla="*/ 1080120 w 1080120"/>
              <a:gd name="connsiteY2" fmla="*/ 1080120 h 1080120"/>
              <a:gd name="connsiteX3" fmla="*/ 0 w 1080120"/>
              <a:gd name="connsiteY3" fmla="*/ 1080120 h 1080120"/>
              <a:gd name="connsiteX4" fmla="*/ 0 w 1080120"/>
              <a:gd name="connsiteY4" fmla="*/ 0 h 1080120"/>
              <a:gd name="connsiteX0" fmla="*/ 0 w 1080120"/>
              <a:gd name="connsiteY0" fmla="*/ 0 h 1088587"/>
              <a:gd name="connsiteX1" fmla="*/ 1080120 w 1080120"/>
              <a:gd name="connsiteY1" fmla="*/ 0 h 1088587"/>
              <a:gd name="connsiteX2" fmla="*/ 97986 w 1080120"/>
              <a:gd name="connsiteY2" fmla="*/ 1088587 h 1088587"/>
              <a:gd name="connsiteX3" fmla="*/ 0 w 1080120"/>
              <a:gd name="connsiteY3" fmla="*/ 1080120 h 1088587"/>
              <a:gd name="connsiteX4" fmla="*/ 0 w 1080120"/>
              <a:gd name="connsiteY4" fmla="*/ 0 h 1088587"/>
              <a:gd name="connsiteX0" fmla="*/ 406400 w 1486520"/>
              <a:gd name="connsiteY0" fmla="*/ 0 h 1097053"/>
              <a:gd name="connsiteX1" fmla="*/ 1486520 w 1486520"/>
              <a:gd name="connsiteY1" fmla="*/ 0 h 1097053"/>
              <a:gd name="connsiteX2" fmla="*/ 504386 w 1486520"/>
              <a:gd name="connsiteY2" fmla="*/ 1088587 h 1097053"/>
              <a:gd name="connsiteX3" fmla="*/ 0 w 1486520"/>
              <a:gd name="connsiteY3" fmla="*/ 1097053 h 1097053"/>
              <a:gd name="connsiteX4" fmla="*/ 406400 w 1486520"/>
              <a:gd name="connsiteY4" fmla="*/ 0 h 1097053"/>
              <a:gd name="connsiteX0" fmla="*/ 8466 w 1486520"/>
              <a:gd name="connsiteY0" fmla="*/ 0 h 1105519"/>
              <a:gd name="connsiteX1" fmla="*/ 1486520 w 1486520"/>
              <a:gd name="connsiteY1" fmla="*/ 8466 h 1105519"/>
              <a:gd name="connsiteX2" fmla="*/ 504386 w 1486520"/>
              <a:gd name="connsiteY2" fmla="*/ 1097053 h 1105519"/>
              <a:gd name="connsiteX3" fmla="*/ 0 w 1486520"/>
              <a:gd name="connsiteY3" fmla="*/ 1105519 h 1105519"/>
              <a:gd name="connsiteX4" fmla="*/ 8466 w 1486520"/>
              <a:gd name="connsiteY4" fmla="*/ 0 h 110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6520" h="1105519">
                <a:moveTo>
                  <a:pt x="8466" y="0"/>
                </a:moveTo>
                <a:lnTo>
                  <a:pt x="1486520" y="8466"/>
                </a:lnTo>
                <a:lnTo>
                  <a:pt x="504386" y="1097053"/>
                </a:lnTo>
                <a:lnTo>
                  <a:pt x="0" y="1105519"/>
                </a:lnTo>
                <a:lnTo>
                  <a:pt x="846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420" tIns="47710" rIns="95420" bIns="47710" rtlCol="0" anchor="ctr"/>
          <a:lstStyle/>
          <a:p>
            <a:pPr algn="ctr" defTabSz="954155"/>
            <a:endParaRPr lang="en-US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1"/>
            <a:ext cx="686393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6269" y="188640"/>
            <a:ext cx="873268" cy="713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46"/>
          <p:cNvPicPr>
            <a:picLocks noChangeAspect="1"/>
          </p:cNvPicPr>
          <p:nvPr/>
        </p:nvPicPr>
        <p:blipFill rotWithShape="1">
          <a:blip r:embed="rId3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17330" y="205574"/>
            <a:ext cx="942042" cy="671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735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  <p:sldLayoutId id="2147483745" r:id="rId17"/>
    <p:sldLayoutId id="2147483746" r:id="rId18"/>
    <p:sldLayoutId id="2147483747" r:id="rId19"/>
    <p:sldLayoutId id="2147483748" r:id="rId20"/>
    <p:sldLayoutId id="2147483749" r:id="rId21"/>
    <p:sldLayoutId id="2147483750" r:id="rId22"/>
    <p:sldLayoutId id="2147483751" r:id="rId23"/>
    <p:sldLayoutId id="2147483752" r:id="rId24"/>
    <p:sldLayoutId id="2147483753" r:id="rId25"/>
    <p:sldLayoutId id="2147483754" r:id="rId26"/>
    <p:sldLayoutId id="2147483755" r:id="rId27"/>
    <p:sldLayoutId id="2147483895" r:id="rId28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accent3"/>
          </a:solidFill>
          <a:latin typeface="Microsoft Sans Serif"/>
          <a:ea typeface="+mj-ea"/>
          <a:cs typeface="Microsoft Sans Serif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5pPr>
      <a:lvl6pPr marL="477109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6pPr>
      <a:lvl7pPr marL="954217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7pPr>
      <a:lvl8pPr marL="1431326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8pPr>
      <a:lvl9pPr marL="1908434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8855" indent="-18885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Clr>
          <a:schemeClr val="accent2"/>
        </a:buClr>
        <a:buSzPct val="150000"/>
        <a:buFont typeface="Arial"/>
        <a:buChar char="•"/>
        <a:defRPr sz="1714">
          <a:solidFill>
            <a:schemeClr val="tx1"/>
          </a:solidFill>
          <a:latin typeface="Microsoft Sans Serif"/>
          <a:ea typeface="+mn-ea"/>
          <a:cs typeface="Microsoft Sans Serif"/>
        </a:defRPr>
      </a:lvl1pPr>
      <a:lvl2pPr marL="376055" indent="-185542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Clr>
          <a:schemeClr val="accent2"/>
        </a:buClr>
        <a:buSzPct val="150000"/>
        <a:buFont typeface="Arial"/>
        <a:buChar char="•"/>
        <a:defRPr sz="1429">
          <a:solidFill>
            <a:schemeClr val="tx1"/>
          </a:solidFill>
          <a:latin typeface="Microsoft Sans Serif"/>
          <a:cs typeface="Microsoft Sans Serif"/>
        </a:defRPr>
      </a:lvl2pPr>
      <a:lvl3pPr marL="1212651" indent="-279970" algn="l" rtl="0" eaLnBrk="0" fontAlgn="base" hangingPunct="0">
        <a:spcBef>
          <a:spcPct val="0"/>
        </a:spcBef>
        <a:spcAft>
          <a:spcPct val="30000"/>
        </a:spcAft>
        <a:buBlip>
          <a:blip r:embed="rId32"/>
        </a:buBlip>
        <a:defRPr sz="2286">
          <a:solidFill>
            <a:schemeClr val="tx1"/>
          </a:solidFill>
          <a:latin typeface="+mn-lt"/>
          <a:cs typeface="+mn-cs"/>
        </a:defRPr>
      </a:lvl3pPr>
      <a:lvl4pPr marL="1737802" indent="-238554" algn="l" rtl="0" eaLnBrk="0" fontAlgn="base" hangingPunct="0">
        <a:spcBef>
          <a:spcPct val="20000"/>
        </a:spcBef>
        <a:spcAft>
          <a:spcPct val="0"/>
        </a:spcAft>
        <a:buChar char="–"/>
        <a:defRPr sz="2095">
          <a:solidFill>
            <a:schemeClr val="tx1"/>
          </a:solidFill>
          <a:latin typeface="+mn-lt"/>
          <a:cs typeface="+mn-cs"/>
        </a:defRPr>
      </a:lvl4pPr>
      <a:lvl5pPr marL="2163555" indent="-238554" algn="l" rtl="0" eaLnBrk="0" fontAlgn="base" hangingPunct="0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5pPr>
      <a:lvl6pPr marL="2640663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6pPr>
      <a:lvl7pPr marL="3117772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7pPr>
      <a:lvl8pPr marL="3594881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8pPr>
      <a:lvl9pPr marL="4071990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77109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54217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31326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08434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385543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862652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39760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16869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03" name="Object 215"/>
          <p:cNvGraphicFramePr>
            <a:graphicFrameLocks noChangeAspect="1"/>
          </p:cNvGraphicFramePr>
          <p:nvPr/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68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Picture 9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859772" y="1970589"/>
            <a:ext cx="193803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990417" y="4188829"/>
            <a:ext cx="167674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12507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605668" y="1990667"/>
            <a:ext cx="4755582" cy="125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12508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40386" y="301273"/>
            <a:ext cx="8607428" cy="299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40387" y="27536"/>
            <a:ext cx="876843" cy="263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428" dirty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31613" y="945932"/>
            <a:ext cx="9526956" cy="30748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31613" y="6228458"/>
            <a:ext cx="9449744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31613" y="6579405"/>
            <a:ext cx="7586117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12513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605668" y="1035018"/>
            <a:ext cx="4713466" cy="633321"/>
            <a:chOff x="915" y="639"/>
            <a:chExt cx="2686" cy="391"/>
          </a:xfrm>
        </p:grpSpPr>
        <p:cxnSp>
          <p:nvCxnSpPr>
            <p:cNvPr id="1251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>
            <a:off x="131613" y="6454684"/>
            <a:ext cx="963224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>
            <a:off x="140386" y="902198"/>
            <a:ext cx="962522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pic>
        <p:nvPicPr>
          <p:cNvPr id="12516" name="navigation8" descr="ujkm,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9594" y="37255"/>
            <a:ext cx="980948" cy="801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>
            <p:custDataLst>
              <p:tags r:id="rId19"/>
            </p:custDataLst>
          </p:nvPr>
        </p:nvCxnSpPr>
        <p:spPr>
          <a:xfrm>
            <a:off x="8951374" y="6555108"/>
            <a:ext cx="0" cy="30289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29" name="Slide Number"/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9446235" y="6629616"/>
            <a:ext cx="231637" cy="155496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fld id="{4AB8EE8F-8FB5-4462-A918-B78ABC876090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72964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2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Char char="•"/>
        <a:defRPr sz="1632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  <a:cs typeface="Arial"/>
        </a:defRPr>
      </a:lvl4pPr>
      <a:lvl5pPr marL="764511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03" name="Object 215"/>
          <p:cNvGraphicFramePr>
            <a:graphicFrameLocks noChangeAspect="1"/>
          </p:cNvGraphicFramePr>
          <p:nvPr/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63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Picture 9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859773" y="1970589"/>
            <a:ext cx="193803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990418" y="4188829"/>
            <a:ext cx="1676741" cy="1130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12507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605668" y="1990667"/>
            <a:ext cx="4755582" cy="1256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12508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40386" y="301273"/>
            <a:ext cx="8607428" cy="299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40388" y="27536"/>
            <a:ext cx="876843" cy="263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428" dirty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31614" y="945932"/>
            <a:ext cx="9526956" cy="30748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31614" y="6228460"/>
            <a:ext cx="9449744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31613" y="6579407"/>
            <a:ext cx="7586118" cy="1922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12513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605668" y="1035020"/>
            <a:ext cx="4713466" cy="633321"/>
            <a:chOff x="915" y="639"/>
            <a:chExt cx="2686" cy="391"/>
          </a:xfrm>
        </p:grpSpPr>
        <p:cxnSp>
          <p:nvCxnSpPr>
            <p:cNvPr id="1251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>
            <a:off x="131613" y="6454684"/>
            <a:ext cx="963224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>
            <a:off x="140386" y="902198"/>
            <a:ext cx="9625228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  <a:cs typeface="Arial" charset="0"/>
            </a:endParaRPr>
          </a:p>
        </p:txBody>
      </p:sp>
      <p:pic>
        <p:nvPicPr>
          <p:cNvPr id="12516" name="navigation8" descr="ujkm,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9594" y="37257"/>
            <a:ext cx="980948" cy="801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>
            <p:custDataLst>
              <p:tags r:id="rId19"/>
            </p:custDataLst>
          </p:nvPr>
        </p:nvCxnSpPr>
        <p:spPr>
          <a:xfrm>
            <a:off x="8951374" y="6555108"/>
            <a:ext cx="0" cy="30289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29" name="Slide Number"/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9446236" y="6629616"/>
            <a:ext cx="231637" cy="155496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fld id="{4AB8EE8F-8FB5-4462-A918-B78ABC876090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 fontAlgn="base">
                <a:lnSpc>
                  <a:spcPct val="12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54450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8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Arial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Arial" charset="0"/>
          <a:cs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Char char="•"/>
        <a:defRPr sz="1632">
          <a:solidFill>
            <a:schemeClr val="tx1"/>
          </a:solidFill>
          <a:latin typeface="+mn-lt"/>
          <a:ea typeface="+mn-ea"/>
          <a:cs typeface="Arial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  <a:cs typeface="Arial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  <a:cs typeface="Arial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  <a:cs typeface="Arial"/>
        </a:defRPr>
      </a:lvl4pPr>
      <a:lvl5pPr marL="764511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7481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5788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9972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4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5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16338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  <p:sldLayoutId id="2147483817" r:id="rId11"/>
    <p:sldLayoutId id="2147483818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3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44655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0.jpeg"/><Relationship Id="rId4" Type="http://schemas.openxmlformats.org/officeDocument/2006/relationships/image" Target="../media/image39.JP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5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27.png"/><Relationship Id="rId7" Type="http://schemas.openxmlformats.org/officeDocument/2006/relationships/image" Target="../media/image33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32.jpeg"/><Relationship Id="rId9" Type="http://schemas.openxmlformats.org/officeDocument/2006/relationships/image" Target="../media/image35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78631" y="3477445"/>
            <a:ext cx="9560298" cy="2222353"/>
          </a:xfrm>
          <a:prstGeom prst="rect">
            <a:avLst/>
          </a:prstGeom>
          <a:noFill/>
        </p:spPr>
        <p:txBody>
          <a:bodyPr wrap="square" lIns="97740" tIns="48870" rIns="97740" bIns="48870" rtlCol="0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ea typeface="Arial Unicode MS" panose="020B0604020202020204" pitchFamily="34" charset="-128"/>
                <a:cs typeface="Times New Roman" pitchFamily="18" charset="0"/>
              </a:rPr>
              <a:t>Реализация проекта «</a:t>
            </a:r>
            <a:r>
              <a:rPr lang="ru-RU" sz="2800" b="1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ea typeface="Arial Unicode MS" panose="020B0604020202020204" pitchFamily="34" charset="-128"/>
                <a:cs typeface="Times New Roman" pitchFamily="18" charset="0"/>
              </a:rPr>
              <a:t>Оптимизация процесса проведения фронтального опроса и/или </a:t>
            </a:r>
            <a:r>
              <a:rPr lang="ru-RU" sz="2800" b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ea typeface="Arial Unicode MS" panose="020B0604020202020204" pitchFamily="34" charset="-128"/>
                <a:cs typeface="Times New Roman" pitchFamily="18" charset="0"/>
              </a:rPr>
              <a:t>тестирования </a:t>
            </a:r>
            <a:r>
              <a:rPr lang="ru-RU" sz="2800" b="1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ea typeface="Arial Unicode MS" panose="020B0604020202020204" pitchFamily="34" charset="-128"/>
                <a:cs typeface="Times New Roman" pitchFamily="18" charset="0"/>
              </a:rPr>
              <a:t>с помощью использования приложения </a:t>
            </a:r>
            <a:r>
              <a:rPr lang="en-US" sz="2800" b="1" dirty="0" err="1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ea typeface="Arial Unicode MS" panose="020B0604020202020204" pitchFamily="34" charset="-128"/>
                <a:cs typeface="Times New Roman" pitchFamily="18" charset="0"/>
              </a:rPr>
              <a:t>Plickers</a:t>
            </a:r>
            <a:r>
              <a:rPr lang="ru-RU" sz="2800" b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ea typeface="Arial Unicode MS" panose="020B0604020202020204" pitchFamily="34" charset="-128"/>
                <a:cs typeface="Times New Roman" pitchFamily="18" charset="0"/>
              </a:rPr>
              <a:t>» в </a:t>
            </a:r>
            <a:r>
              <a:rPr lang="ru-RU" sz="2800" b="1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ea typeface="Arial Unicode MS" panose="020B0604020202020204" pitchFamily="34" charset="-128"/>
                <a:cs typeface="Times New Roman" pitchFamily="18" charset="0"/>
              </a:rPr>
              <a:t>рамках проекта Орловской области «Эффективный </a:t>
            </a:r>
            <a:r>
              <a:rPr lang="ru-RU" sz="2800" b="1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ea typeface="Arial Unicode MS" panose="020B0604020202020204" pitchFamily="34" charset="-128"/>
                <a:cs typeface="Times New Roman" pitchFamily="18" charset="0"/>
              </a:rPr>
              <a:t>регион»</a:t>
            </a:r>
          </a:p>
          <a:p>
            <a:pPr algn="ctr"/>
            <a:endParaRPr lang="en-US" sz="2600" b="1" dirty="0" smtClean="0">
              <a:solidFill>
                <a:schemeClr val="tx2">
                  <a:lumMod val="90000"/>
                  <a:lumOff val="10000"/>
                </a:schemeClr>
              </a:solidFill>
              <a:latin typeface="Times New Roman" pitchFamily="18" charset="0"/>
              <a:ea typeface="Arial Unicode MS" panose="020B0604020202020204" pitchFamily="34" charset="-128"/>
              <a:cs typeface="Times New Roman" pitchFamily="18" charset="0"/>
            </a:endParaRPr>
          </a:p>
        </p:txBody>
      </p:sp>
      <p:pic>
        <p:nvPicPr>
          <p:cNvPr id="6" name="Picture 2" descr="Coat of arms of Oryol Oblast (large).sv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08106" y="1082421"/>
            <a:ext cx="889612" cy="1159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6"/>
          <p:cNvSpPr/>
          <p:nvPr/>
        </p:nvSpPr>
        <p:spPr>
          <a:xfrm>
            <a:off x="560512" y="2242271"/>
            <a:ext cx="1940874" cy="606526"/>
          </a:xfrm>
          <a:prstGeom prst="rect">
            <a:avLst/>
          </a:prstGeom>
        </p:spPr>
        <p:txBody>
          <a:bodyPr wrap="square" lIns="97740" tIns="48870" rIns="97740" bIns="48870">
            <a:spAutoFit/>
          </a:bodyPr>
          <a:lstStyle/>
          <a:p>
            <a:pPr algn="ctr">
              <a:defRPr/>
            </a:pPr>
            <a:r>
              <a:rPr lang="ru-RU" sz="1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  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Правительство 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Орловской области</a:t>
            </a:r>
          </a:p>
        </p:txBody>
      </p:sp>
      <p:pic>
        <p:nvPicPr>
          <p:cNvPr id="8" name="Picture 6" descr="C:\Documents and Settings\svk\Рабочий стол\e7a755d4276c2ccd3466efcf3bb76cad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20769" y="1229289"/>
            <a:ext cx="964786" cy="953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Прямоугольник 8"/>
          <p:cNvSpPr/>
          <p:nvPr/>
        </p:nvSpPr>
        <p:spPr>
          <a:xfrm>
            <a:off x="2656206" y="2211185"/>
            <a:ext cx="3693912" cy="745025"/>
          </a:xfrm>
          <a:prstGeom prst="rect">
            <a:avLst/>
          </a:prstGeom>
        </p:spPr>
        <p:txBody>
          <a:bodyPr lIns="97740" tIns="48870" rIns="97740" bIns="48870">
            <a:spAutoFit/>
          </a:bodyPr>
          <a:lstStyle/>
          <a:p>
            <a:pPr algn="ctr">
              <a:defRPr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Партнер Правительства</a:t>
            </a:r>
          </a:p>
          <a:p>
            <a:pPr algn="ctr">
              <a:defRPr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Орловской области Госкорпорация «Росатом»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36155" y="6188464"/>
            <a:ext cx="5680941" cy="391082"/>
          </a:xfrm>
          <a:prstGeom prst="rect">
            <a:avLst/>
          </a:prstGeom>
          <a:noFill/>
        </p:spPr>
        <p:txBody>
          <a:bodyPr wrap="none" lIns="97740" tIns="48870" rIns="97740" bIns="48870" rtlCol="0">
            <a:spAutoFit/>
          </a:bodyPr>
          <a:lstStyle/>
          <a:p>
            <a:r>
              <a:rPr lang="ru-RU" sz="19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ериод реализации проекта</a:t>
            </a:r>
            <a:r>
              <a:rPr lang="en-US" sz="19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ru-RU" sz="19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13</a:t>
            </a:r>
            <a:r>
              <a:rPr lang="en-US" sz="19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.01.2020-</a:t>
            </a:r>
            <a:r>
              <a:rPr lang="ru-RU" sz="1900" b="1" dirty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ru-RU" sz="19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r>
              <a:rPr lang="en-US" sz="19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.0</a:t>
            </a:r>
            <a:r>
              <a:rPr lang="ru-RU" sz="19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r>
              <a:rPr lang="en-US" sz="19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.2020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8606" y="1192395"/>
            <a:ext cx="899254" cy="899254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5673080" y="2119556"/>
            <a:ext cx="3693912" cy="529582"/>
          </a:xfrm>
          <a:prstGeom prst="rect">
            <a:avLst/>
          </a:prstGeom>
        </p:spPr>
        <p:txBody>
          <a:bodyPr lIns="97740" tIns="48870" rIns="97740" bIns="48870">
            <a:spAutoFit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Орловская школа </a:t>
            </a:r>
          </a:p>
          <a:p>
            <a:pPr algn="ctr">
              <a:defRPr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для обучающихся с ОВЗ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5560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25F091-A418-48E2-B21B-9DD2A9739E1C}" type="slidenum">
              <a:rPr lang="ru-RU" smtClean="0">
                <a:solidFill>
                  <a:srgbClr val="0D6186"/>
                </a:solidFill>
              </a:rPr>
              <a:pPr>
                <a:defRPr/>
              </a:pPr>
              <a:t>10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16496" y="1382617"/>
            <a:ext cx="4536504" cy="496855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rgbClr val="08486B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88504" y="1363599"/>
            <a:ext cx="43364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я о проекте </a:t>
            </a:r>
          </a:p>
          <a:p>
            <a:pPr algn="ctr"/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ставлена на стенде, который </a:t>
            </a:r>
          </a:p>
          <a:p>
            <a:pPr algn="ctr"/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положен на входе в школу. </a:t>
            </a:r>
            <a:endParaRPr lang="ru-RU" sz="16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350" y="2194596"/>
            <a:ext cx="3080287" cy="410705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158348" y="2114772"/>
            <a:ext cx="2517366" cy="141601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85"/>
          <a:stretch/>
        </p:blipFill>
        <p:spPr>
          <a:xfrm>
            <a:off x="5155164" y="3835160"/>
            <a:ext cx="4349962" cy="2473691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239"/>
          <a:stretch/>
        </p:blipFill>
        <p:spPr>
          <a:xfrm>
            <a:off x="7047409" y="1084521"/>
            <a:ext cx="2592065" cy="2060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628459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0" y="144423"/>
            <a:ext cx="7661677" cy="887318"/>
            <a:chOff x="-116389" y="156635"/>
            <a:chExt cx="7331090" cy="738942"/>
          </a:xfrm>
        </p:grpSpPr>
        <p:sp>
          <p:nvSpPr>
            <p:cNvPr id="6" name="Скругленный прямоугольник 5"/>
            <p:cNvSpPr/>
            <p:nvPr/>
          </p:nvSpPr>
          <p:spPr>
            <a:xfrm>
              <a:off x="-114563" y="156635"/>
              <a:ext cx="7329264" cy="64807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smtClean="0">
                <a:gradFill flip="none" rotWithShape="1">
                  <a:gsLst>
                    <a:gs pos="0">
                      <a:schemeClr val="accent1">
                        <a:lumMod val="67000"/>
                      </a:schemeClr>
                    </a:gs>
                    <a:gs pos="48000">
                      <a:schemeClr val="accent1">
                        <a:lumMod val="97000"/>
                        <a:lumOff val="3000"/>
                      </a:schemeClr>
                    </a:gs>
                    <a:gs pos="100000">
                      <a:schemeClr val="accent1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</a:endParaRPr>
            </a:p>
          </p:txBody>
        </p:sp>
        <p:sp>
          <p:nvSpPr>
            <p:cNvPr id="7" name="Скругленный прямоугольник 6"/>
            <p:cNvSpPr/>
            <p:nvPr/>
          </p:nvSpPr>
          <p:spPr>
            <a:xfrm>
              <a:off x="-116389" y="219156"/>
              <a:ext cx="7249135" cy="676421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smtClean="0">
                <a:solidFill>
                  <a:srgbClr val="08486B"/>
                </a:solidFill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128464" y="171586"/>
            <a:ext cx="701300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600" b="1" dirty="0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Microsoft YaHei" pitchFamily="34" charset="-122"/>
                <a:cs typeface="Times New Roman" panose="02020603050405020304" pitchFamily="18" charset="0"/>
              </a:rPr>
              <a:t>Оценка результатов проекта «</a:t>
            </a: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Microsoft YaHei" pitchFamily="34" charset="-122"/>
                <a:cs typeface="Times New Roman" panose="02020603050405020304" pitchFamily="18" charset="0"/>
              </a:rPr>
              <a:t>Оптимизация процесса проведения фронтального опроса и/или </a:t>
            </a:r>
            <a:r>
              <a:rPr lang="ru-RU" sz="1600" b="1" dirty="0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Microsoft YaHei" pitchFamily="34" charset="-122"/>
                <a:cs typeface="Times New Roman" panose="02020603050405020304" pitchFamily="18" charset="0"/>
              </a:rPr>
              <a:t>тестирования </a:t>
            </a: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Microsoft YaHei" pitchFamily="34" charset="-122"/>
                <a:cs typeface="Times New Roman" panose="02020603050405020304" pitchFamily="18" charset="0"/>
              </a:rPr>
              <a:t>с помощью использования приложения </a:t>
            </a:r>
            <a:r>
              <a:rPr lang="en-US" sz="1600" b="1" dirty="0" err="1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Microsoft YaHei" pitchFamily="34" charset="-122"/>
                <a:cs typeface="Times New Roman" panose="02020603050405020304" pitchFamily="18" charset="0"/>
              </a:rPr>
              <a:t>Plisckers</a:t>
            </a:r>
            <a:r>
              <a:rPr lang="ru-RU" sz="1600" b="1" dirty="0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Microsoft YaHei" pitchFamily="34" charset="-122"/>
                <a:cs typeface="Times New Roman" panose="02020603050405020304" pitchFamily="18" charset="0"/>
              </a:rPr>
              <a:t>»</a:t>
            </a:r>
            <a:endParaRPr lang="ru-RU" sz="1600" b="1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Microsoft YaHei" pitchFamily="34" charset="-122"/>
              <a:cs typeface="Times New Roman" panose="02020603050405020304" pitchFamily="18" charset="0"/>
            </a:endParaRPr>
          </a:p>
        </p:txBody>
      </p:sp>
      <p:graphicFrame>
        <p:nvGraphicFramePr>
          <p:cNvPr id="10" name="Group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305393"/>
              </p:ext>
            </p:extLst>
          </p:nvPr>
        </p:nvGraphicFramePr>
        <p:xfrm>
          <a:off x="272480" y="1628800"/>
          <a:ext cx="8784976" cy="1708642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432048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40288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06161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416983"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цели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234" marR="93234" marT="46776" marB="46776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кущий показатель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234" marR="93234" marT="46776" marB="46776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евой показатель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234" marR="93234" marT="46776" marB="46776" horzOverflow="overflow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40414"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Оптимизация времени проверки, фиксирования и анализа результатов фронтального опроса и/или тестирова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234" marR="93234" marT="46776" marB="46776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Symbol" panose="05050102010706020507" pitchFamily="18" charset="2"/>
                        </a:rPr>
                        <a:t> 60 мин/тес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234" marR="93234" marT="46776" marB="46776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Symbol" panose="05050102010706020507" pitchFamily="18" charset="2"/>
                        </a:rPr>
                        <a:t> 15 мин/тес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234" marR="93234" marT="46776" marB="46776" horzOverflow="overflow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32500"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Снижение финансовых затрат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234" marR="93234" marT="46776" marB="46776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среднем 15 листов/тест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234" marR="93234" marT="46776" marB="46776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400" u="none" strike="noStrike" kern="1200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 листов/тест</a:t>
                      </a:r>
                      <a:endParaRPr kumimoji="0" lang="ru-RU" sz="14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93234" marR="93234" marT="46776" marB="46776" horzOverflow="overflow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1" name="AutoShape 46"/>
          <p:cNvSpPr>
            <a:spLocks noChangeArrowheads="1"/>
          </p:cNvSpPr>
          <p:nvPr/>
        </p:nvSpPr>
        <p:spPr bwMode="ltGray">
          <a:xfrm rot="5400000">
            <a:off x="-2058257" y="3047708"/>
            <a:ext cx="3519511" cy="4101074"/>
          </a:xfrm>
          <a:custGeom>
            <a:avLst/>
            <a:gdLst>
              <a:gd name="G0" fmla="+- 10478 0 0"/>
              <a:gd name="G1" fmla="+- -11739500 0 0"/>
              <a:gd name="G2" fmla="+- 0 0 -11739500"/>
              <a:gd name="T0" fmla="*/ 0 256 1"/>
              <a:gd name="T1" fmla="*/ 180 256 1"/>
              <a:gd name="G3" fmla="+- -11739500 T0 T1"/>
              <a:gd name="T2" fmla="*/ 0 256 1"/>
              <a:gd name="T3" fmla="*/ 90 256 1"/>
              <a:gd name="G4" fmla="+- -11739500 T2 T3"/>
              <a:gd name="G5" fmla="*/ G4 2 1"/>
              <a:gd name="T4" fmla="*/ 90 256 1"/>
              <a:gd name="T5" fmla="*/ 0 256 1"/>
              <a:gd name="G6" fmla="+- -11739500 T4 T5"/>
              <a:gd name="G7" fmla="*/ G6 2 1"/>
              <a:gd name="G8" fmla="abs -11739500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10478"/>
              <a:gd name="G18" fmla="*/ 10478 1 2"/>
              <a:gd name="G19" fmla="+- G18 5400 0"/>
              <a:gd name="G20" fmla="cos G19 -11739500"/>
              <a:gd name="G21" fmla="sin G19 -11739500"/>
              <a:gd name="G22" fmla="+- G20 10800 0"/>
              <a:gd name="G23" fmla="+- G21 10800 0"/>
              <a:gd name="G24" fmla="+- 10800 0 G20"/>
              <a:gd name="G25" fmla="+- 10478 10800 0"/>
              <a:gd name="G26" fmla="?: G9 G17 G25"/>
              <a:gd name="G27" fmla="?: G9 0 21600"/>
              <a:gd name="G28" fmla="cos 10800 -11739500"/>
              <a:gd name="G29" fmla="sin 10800 -11739500"/>
              <a:gd name="G30" fmla="sin 10478 -11739500"/>
              <a:gd name="G31" fmla="+- G28 10800 0"/>
              <a:gd name="G32" fmla="+- G29 10800 0"/>
              <a:gd name="G33" fmla="+- G30 10800 0"/>
              <a:gd name="G34" fmla="?: G4 0 G31"/>
              <a:gd name="G35" fmla="?: -11739500 G34 0"/>
              <a:gd name="G36" fmla="?: G6 G35 G31"/>
              <a:gd name="G37" fmla="+- 21600 0 G36"/>
              <a:gd name="G38" fmla="?: G4 0 G33"/>
              <a:gd name="G39" fmla="?: -11739500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162 w 21600"/>
              <a:gd name="T15" fmla="*/ 10638 h 21600"/>
              <a:gd name="T16" fmla="*/ 10800 w 21600"/>
              <a:gd name="T17" fmla="*/ 322 h 21600"/>
              <a:gd name="T18" fmla="*/ 21438 w 21600"/>
              <a:gd name="T19" fmla="*/ 10638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323" y="10641"/>
                </a:moveTo>
                <a:cubicBezTo>
                  <a:pt x="410" y="4916"/>
                  <a:pt x="5075" y="322"/>
                  <a:pt x="10800" y="322"/>
                </a:cubicBezTo>
                <a:cubicBezTo>
                  <a:pt x="16524" y="322"/>
                  <a:pt x="21189" y="4916"/>
                  <a:pt x="21276" y="10641"/>
                </a:cubicBezTo>
                <a:lnTo>
                  <a:pt x="21598" y="10636"/>
                </a:lnTo>
                <a:cubicBezTo>
                  <a:pt x="21509" y="4736"/>
                  <a:pt x="16700" y="0"/>
                  <a:pt x="10799" y="0"/>
                </a:cubicBezTo>
                <a:cubicBezTo>
                  <a:pt x="4899" y="0"/>
                  <a:pt x="90" y="4736"/>
                  <a:pt x="1" y="10636"/>
                </a:cubicBezTo>
                <a:close/>
              </a:path>
            </a:pathLst>
          </a:custGeom>
          <a:gradFill rotWithShape="1">
            <a:gsLst>
              <a:gs pos="0">
                <a:schemeClr val="bg2">
                  <a:gamma/>
                  <a:tint val="45490"/>
                  <a:invGamma/>
                </a:schemeClr>
              </a:gs>
              <a:gs pos="50000">
                <a:schemeClr val="bg2"/>
              </a:gs>
              <a:gs pos="100000">
                <a:schemeClr val="bg2">
                  <a:gamma/>
                  <a:tint val="45490"/>
                  <a:invGamma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76200" dir="10800000" kx="-3284103" algn="b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12" name="AutoShape 47"/>
          <p:cNvSpPr>
            <a:spLocks noChangeArrowheads="1"/>
          </p:cNvSpPr>
          <p:nvPr/>
        </p:nvSpPr>
        <p:spPr bwMode="ltGray">
          <a:xfrm rot="5400000" flipH="1">
            <a:off x="-1614514" y="3442373"/>
            <a:ext cx="2892504" cy="3273438"/>
          </a:xfrm>
          <a:custGeom>
            <a:avLst/>
            <a:gdLst>
              <a:gd name="G0" fmla="+- 56 0 0"/>
              <a:gd name="G1" fmla="+- 11796480 0 0"/>
              <a:gd name="G2" fmla="+- 0 0 11796480"/>
              <a:gd name="T0" fmla="*/ 0 256 1"/>
              <a:gd name="T1" fmla="*/ 180 256 1"/>
              <a:gd name="G3" fmla="+- 11796480 T0 T1"/>
              <a:gd name="T2" fmla="*/ 0 256 1"/>
              <a:gd name="T3" fmla="*/ 90 256 1"/>
              <a:gd name="G4" fmla="+- 11796480 T2 T3"/>
              <a:gd name="G5" fmla="*/ G4 2 1"/>
              <a:gd name="T4" fmla="*/ 90 256 1"/>
              <a:gd name="T5" fmla="*/ 0 256 1"/>
              <a:gd name="G6" fmla="+- 11796480 T4 T5"/>
              <a:gd name="G7" fmla="*/ G6 2 1"/>
              <a:gd name="G8" fmla="abs 11796480"/>
              <a:gd name="T6" fmla="*/ 0 256 1"/>
              <a:gd name="T7" fmla="*/ 90 256 1"/>
              <a:gd name="G9" fmla="+- G8 T6 T7"/>
              <a:gd name="G10" fmla="?: G9 G7 G5"/>
              <a:gd name="T8" fmla="*/ 0 256 1"/>
              <a:gd name="T9" fmla="*/ 360 256 1"/>
              <a:gd name="G11" fmla="+- G10 T8 T9"/>
              <a:gd name="G12" fmla="?: G10 G11 G10"/>
              <a:gd name="T10" fmla="*/ 0 256 1"/>
              <a:gd name="T11" fmla="*/ 360 256 1"/>
              <a:gd name="G13" fmla="+- G12 T10 T11"/>
              <a:gd name="G14" fmla="?: G12 G13 G12"/>
              <a:gd name="G15" fmla="+- 0 0 G14"/>
              <a:gd name="G16" fmla="+- 10800 0 0"/>
              <a:gd name="G17" fmla="+- 10800 0 56"/>
              <a:gd name="G18" fmla="*/ 56 1 2"/>
              <a:gd name="G19" fmla="+- G18 5400 0"/>
              <a:gd name="G20" fmla="cos G19 11796480"/>
              <a:gd name="G21" fmla="sin G19 11796480"/>
              <a:gd name="G22" fmla="+- G20 10800 0"/>
              <a:gd name="G23" fmla="+- G21 10800 0"/>
              <a:gd name="G24" fmla="+- 10800 0 G20"/>
              <a:gd name="G25" fmla="+- 56 10800 0"/>
              <a:gd name="G26" fmla="?: G9 G17 G25"/>
              <a:gd name="G27" fmla="?: G9 0 21600"/>
              <a:gd name="G28" fmla="cos 10800 11796480"/>
              <a:gd name="G29" fmla="sin 10800 11796480"/>
              <a:gd name="G30" fmla="sin 56 11796480"/>
              <a:gd name="G31" fmla="+- G28 10800 0"/>
              <a:gd name="G32" fmla="+- G29 10800 0"/>
              <a:gd name="G33" fmla="+- G30 10800 0"/>
              <a:gd name="G34" fmla="?: G4 0 G31"/>
              <a:gd name="G35" fmla="?: 11796480 G34 0"/>
              <a:gd name="G36" fmla="?: G6 G35 G31"/>
              <a:gd name="G37" fmla="+- 21600 0 G36"/>
              <a:gd name="G38" fmla="?: G4 0 G33"/>
              <a:gd name="G39" fmla="?: 11796480 G38 G32"/>
              <a:gd name="G40" fmla="?: G6 G39 0"/>
              <a:gd name="G41" fmla="?: G4 G32 21600"/>
              <a:gd name="G42" fmla="?: G6 G41 G33"/>
              <a:gd name="T12" fmla="*/ 10800 w 21600"/>
              <a:gd name="T13" fmla="*/ 0 h 21600"/>
              <a:gd name="T14" fmla="*/ 5372 w 21600"/>
              <a:gd name="T15" fmla="*/ 10800 h 21600"/>
              <a:gd name="T16" fmla="*/ 10800 w 21600"/>
              <a:gd name="T17" fmla="*/ 10744 h 21600"/>
              <a:gd name="T18" fmla="*/ 16228 w 21600"/>
              <a:gd name="T19" fmla="*/ 10800 h 21600"/>
              <a:gd name="T20" fmla="*/ G36 w 21600"/>
              <a:gd name="T21" fmla="*/ G40 h 21600"/>
              <a:gd name="T22" fmla="*/ G37 w 21600"/>
              <a:gd name="T23" fmla="*/ G42 h 21600"/>
            </a:gdLst>
            <a:ahLst/>
            <a:cxnLst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T20" t="T21" r="T22" b="T23"/>
            <a:pathLst>
              <a:path w="21600" h="21600">
                <a:moveTo>
                  <a:pt x="10744" y="10800"/>
                </a:moveTo>
                <a:cubicBezTo>
                  <a:pt x="10744" y="10769"/>
                  <a:pt x="10769" y="10744"/>
                  <a:pt x="10800" y="10744"/>
                </a:cubicBezTo>
                <a:cubicBezTo>
                  <a:pt x="10830" y="10744"/>
                  <a:pt x="10856" y="10769"/>
                  <a:pt x="10856" y="10800"/>
                </a:cubicBezTo>
                <a:lnTo>
                  <a:pt x="21600" y="10800"/>
                </a:lnTo>
                <a:cubicBezTo>
                  <a:pt x="21600" y="4835"/>
                  <a:pt x="16764" y="0"/>
                  <a:pt x="10800" y="0"/>
                </a:cubicBezTo>
                <a:cubicBezTo>
                  <a:pt x="4835" y="0"/>
                  <a:pt x="0" y="4835"/>
                  <a:pt x="0" y="10799"/>
                </a:cubicBezTo>
                <a:close/>
              </a:path>
            </a:pathLst>
          </a:custGeom>
          <a:gradFill rotWithShape="1">
            <a:gsLst>
              <a:gs pos="0">
                <a:schemeClr val="hlink">
                  <a:alpha val="56000"/>
                </a:schemeClr>
              </a:gs>
              <a:gs pos="100000">
                <a:schemeClr val="hlink">
                  <a:gamma/>
                  <a:tint val="0"/>
                  <a:invGamma/>
                  <a:alpha val="48000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13" name="AutoShape 48"/>
          <p:cNvSpPr>
            <a:spLocks noChangeArrowheads="1"/>
          </p:cNvSpPr>
          <p:nvPr/>
        </p:nvSpPr>
        <p:spPr bwMode="gray">
          <a:xfrm>
            <a:off x="1881769" y="4289352"/>
            <a:ext cx="4226949" cy="464976"/>
          </a:xfrm>
          <a:prstGeom prst="roundRect">
            <a:avLst>
              <a:gd name="adj" fmla="val 50000"/>
            </a:avLst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1">
                        <a:gamma/>
                        <a:tint val="0"/>
                        <a:invGamma/>
                      </a:schemeClr>
                    </a:gs>
                    <a:gs pos="100000">
                      <a:schemeClr val="accent1"/>
                    </a:gs>
                  </a:gsLst>
                  <a:lin ang="0" scaled="1"/>
                </a:gra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76200" dir="10800000" kx="-3284103" algn="b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/>
            <a:r>
              <a:rPr lang="ru-RU" altLang="ru-RU" sz="14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кращение времени на обработку </a:t>
            </a:r>
          </a:p>
          <a:p>
            <a:pPr eaLnBrk="0" hangingPunct="0"/>
            <a:r>
              <a:rPr lang="ru-RU" altLang="ru-RU" sz="14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анализ результатов теста</a:t>
            </a:r>
            <a:endParaRPr lang="en-US" altLang="ru-RU" sz="14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AutoShape 51"/>
          <p:cNvSpPr>
            <a:spLocks noChangeArrowheads="1"/>
          </p:cNvSpPr>
          <p:nvPr/>
        </p:nvSpPr>
        <p:spPr bwMode="gray">
          <a:xfrm>
            <a:off x="2037787" y="4956857"/>
            <a:ext cx="4206319" cy="383008"/>
          </a:xfrm>
          <a:prstGeom prst="roundRect">
            <a:avLst>
              <a:gd name="adj" fmla="val 50000"/>
            </a:avLst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</a:schemeClr>
                    </a:gs>
                    <a:gs pos="100000">
                      <a:schemeClr val="hlink"/>
                    </a:gs>
                  </a:gsLst>
                  <a:lin ang="0" scaled="1"/>
                </a:gra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76200" dir="10800000" kx="-3284103" algn="b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/>
            <a:r>
              <a:rPr lang="ru-RU" altLang="ru-RU" sz="1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е эффективности урока</a:t>
            </a:r>
            <a:endParaRPr lang="en-US" altLang="ru-RU" sz="16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AutoShape 52"/>
          <p:cNvSpPr>
            <a:spLocks noChangeArrowheads="1"/>
          </p:cNvSpPr>
          <p:nvPr/>
        </p:nvSpPr>
        <p:spPr bwMode="gray">
          <a:xfrm>
            <a:off x="1487093" y="3703815"/>
            <a:ext cx="4206319" cy="383008"/>
          </a:xfrm>
          <a:prstGeom prst="roundRect">
            <a:avLst>
              <a:gd name="adj" fmla="val 50000"/>
            </a:avLst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1">
                        <a:gamma/>
                        <a:tint val="0"/>
                        <a:invGamma/>
                      </a:schemeClr>
                    </a:gs>
                    <a:gs pos="100000">
                      <a:schemeClr val="accent1"/>
                    </a:gs>
                  </a:gsLst>
                  <a:lin ang="0" scaled="1"/>
                </a:gra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76200" dir="10800000" kx="-3284103" algn="b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/>
            <a:r>
              <a:rPr lang="ru-RU" altLang="ru-RU" sz="1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кращение времени на проведение теста</a:t>
            </a:r>
            <a:endParaRPr lang="en-US" altLang="ru-RU" sz="16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8" name="Group 53"/>
          <p:cNvGrpSpPr>
            <a:grpSpLocks/>
          </p:cNvGrpSpPr>
          <p:nvPr/>
        </p:nvGrpSpPr>
        <p:grpSpPr bwMode="auto">
          <a:xfrm>
            <a:off x="1053695" y="3771397"/>
            <a:ext cx="362614" cy="287256"/>
            <a:chOff x="2078" y="1680"/>
            <a:chExt cx="1615" cy="1615"/>
          </a:xfrm>
        </p:grpSpPr>
        <p:sp>
          <p:nvSpPr>
            <p:cNvPr id="19" name="Oval 54"/>
            <p:cNvSpPr>
              <a:spLocks noChangeArrowheads="1"/>
            </p:cNvSpPr>
            <p:nvPr/>
          </p:nvSpPr>
          <p:spPr bwMode="gray">
            <a:xfrm>
              <a:off x="2078" y="1680"/>
              <a:ext cx="1615" cy="1615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46275"/>
                    <a:invGamma/>
                  </a:srgbClr>
                </a:gs>
                <a:gs pos="50000">
                  <a:srgbClr val="FFFFFF"/>
                </a:gs>
                <a:gs pos="100000">
                  <a:srgbClr val="FFFF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5715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6200" dir="10800000" kx="-3284103" algn="b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0" name="Oval 55"/>
            <p:cNvSpPr>
              <a:spLocks noChangeArrowheads="1"/>
            </p:cNvSpPr>
            <p:nvPr/>
          </p:nvSpPr>
          <p:spPr bwMode="gray">
            <a:xfrm>
              <a:off x="2170" y="1771"/>
              <a:ext cx="1430" cy="1430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63529"/>
                    <a:invGamma/>
                  </a:srgbClr>
                </a:gs>
                <a:gs pos="50000">
                  <a:srgbClr val="FFFFFF"/>
                </a:gs>
                <a:gs pos="100000">
                  <a:srgbClr val="FFFFFF">
                    <a:gamma/>
                    <a:shade val="63529"/>
                    <a:invGamma/>
                  </a:srgb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6200" dir="10800000" kx="-3284103" algn="b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1" name="Oval 56"/>
            <p:cNvSpPr>
              <a:spLocks noChangeArrowheads="1"/>
            </p:cNvSpPr>
            <p:nvPr/>
          </p:nvSpPr>
          <p:spPr bwMode="gray">
            <a:xfrm>
              <a:off x="2254" y="1856"/>
              <a:ext cx="1262" cy="1264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tint val="0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tint val="0"/>
                    <a:invGamma/>
                  </a:scheme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ru-RU"/>
            </a:p>
          </p:txBody>
        </p:sp>
        <p:sp>
          <p:nvSpPr>
            <p:cNvPr id="22" name="Oval 57"/>
            <p:cNvSpPr>
              <a:spLocks noChangeArrowheads="1"/>
            </p:cNvSpPr>
            <p:nvPr/>
          </p:nvSpPr>
          <p:spPr bwMode="gray">
            <a:xfrm>
              <a:off x="2254" y="1856"/>
              <a:ext cx="1262" cy="1264"/>
            </a:xfrm>
            <a:prstGeom prst="ellipse">
              <a:avLst/>
            </a:prstGeom>
            <a:gradFill rotWithShape="1">
              <a:gsLst>
                <a:gs pos="0">
                  <a:srgbClr val="FFCC00">
                    <a:gamma/>
                    <a:shade val="0"/>
                    <a:invGamma/>
                  </a:srgbClr>
                </a:gs>
                <a:gs pos="100000">
                  <a:srgbClr val="FFCC00"/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ru-RU"/>
            </a:p>
          </p:txBody>
        </p:sp>
        <p:sp>
          <p:nvSpPr>
            <p:cNvPr id="23" name="Oval 58"/>
            <p:cNvSpPr>
              <a:spLocks noChangeArrowheads="1"/>
            </p:cNvSpPr>
            <p:nvPr/>
          </p:nvSpPr>
          <p:spPr bwMode="gray"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shade val="54118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shade val="54118"/>
                    <a:invGamma/>
                  </a:schemeClr>
                </a:gs>
              </a:gsLst>
              <a:lin ang="189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ru-RU"/>
            </a:p>
          </p:txBody>
        </p:sp>
        <p:sp>
          <p:nvSpPr>
            <p:cNvPr id="24" name="Oval 59"/>
            <p:cNvSpPr>
              <a:spLocks noChangeArrowheads="1"/>
            </p:cNvSpPr>
            <p:nvPr/>
          </p:nvSpPr>
          <p:spPr bwMode="gray"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rgbClr val="FFCC00"/>
                </a:gs>
                <a:gs pos="100000">
                  <a:srgbClr val="FFCC00">
                    <a:gamma/>
                    <a:shade val="48627"/>
                    <a:invGamma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ru-RU"/>
            </a:p>
          </p:txBody>
        </p:sp>
      </p:grpSp>
      <p:grpSp>
        <p:nvGrpSpPr>
          <p:cNvPr id="25" name="Group 60"/>
          <p:cNvGrpSpPr>
            <a:grpSpLocks/>
          </p:cNvGrpSpPr>
          <p:nvPr/>
        </p:nvGrpSpPr>
        <p:grpSpPr bwMode="auto">
          <a:xfrm>
            <a:off x="1487093" y="4378479"/>
            <a:ext cx="362614" cy="287256"/>
            <a:chOff x="2078" y="1680"/>
            <a:chExt cx="1615" cy="1615"/>
          </a:xfrm>
        </p:grpSpPr>
        <p:sp>
          <p:nvSpPr>
            <p:cNvPr id="26" name="Oval 61"/>
            <p:cNvSpPr>
              <a:spLocks noChangeArrowheads="1"/>
            </p:cNvSpPr>
            <p:nvPr/>
          </p:nvSpPr>
          <p:spPr bwMode="gray">
            <a:xfrm>
              <a:off x="2078" y="1680"/>
              <a:ext cx="1615" cy="1615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46275"/>
                    <a:invGamma/>
                  </a:srgbClr>
                </a:gs>
                <a:gs pos="50000">
                  <a:srgbClr val="FFFFFF"/>
                </a:gs>
                <a:gs pos="100000">
                  <a:srgbClr val="FFFF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5715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6200" dir="10800000" kx="-3284103" algn="b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7" name="Oval 62"/>
            <p:cNvSpPr>
              <a:spLocks noChangeArrowheads="1"/>
            </p:cNvSpPr>
            <p:nvPr/>
          </p:nvSpPr>
          <p:spPr bwMode="gray">
            <a:xfrm>
              <a:off x="2170" y="1771"/>
              <a:ext cx="1430" cy="1430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63529"/>
                    <a:invGamma/>
                  </a:srgbClr>
                </a:gs>
                <a:gs pos="50000">
                  <a:srgbClr val="FFFFFF"/>
                </a:gs>
                <a:gs pos="100000">
                  <a:srgbClr val="FFFFFF">
                    <a:gamma/>
                    <a:shade val="63529"/>
                    <a:invGamma/>
                  </a:srgb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6200" dir="10800000" kx="-3284103" algn="b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8" name="Oval 63"/>
            <p:cNvSpPr>
              <a:spLocks noChangeArrowheads="1"/>
            </p:cNvSpPr>
            <p:nvPr/>
          </p:nvSpPr>
          <p:spPr bwMode="gray">
            <a:xfrm>
              <a:off x="2254" y="1856"/>
              <a:ext cx="1262" cy="1264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tint val="0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tint val="0"/>
                    <a:invGamma/>
                  </a:scheme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ru-RU"/>
            </a:p>
          </p:txBody>
        </p:sp>
        <p:sp>
          <p:nvSpPr>
            <p:cNvPr id="29" name="Oval 64"/>
            <p:cNvSpPr>
              <a:spLocks noChangeArrowheads="1"/>
            </p:cNvSpPr>
            <p:nvPr/>
          </p:nvSpPr>
          <p:spPr bwMode="gray">
            <a:xfrm>
              <a:off x="2254" y="1856"/>
              <a:ext cx="1262" cy="1264"/>
            </a:xfrm>
            <a:prstGeom prst="ellipse">
              <a:avLst/>
            </a:prstGeom>
            <a:gradFill rotWithShape="1">
              <a:gsLst>
                <a:gs pos="0">
                  <a:srgbClr val="48BE67">
                    <a:gamma/>
                    <a:shade val="0"/>
                    <a:invGamma/>
                  </a:srgbClr>
                </a:gs>
                <a:gs pos="100000">
                  <a:srgbClr val="48BE67"/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ru-RU"/>
            </a:p>
          </p:txBody>
        </p:sp>
        <p:sp>
          <p:nvSpPr>
            <p:cNvPr id="30" name="Oval 65"/>
            <p:cNvSpPr>
              <a:spLocks noChangeArrowheads="1"/>
            </p:cNvSpPr>
            <p:nvPr/>
          </p:nvSpPr>
          <p:spPr bwMode="gray"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shade val="54118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shade val="54118"/>
                    <a:invGamma/>
                  </a:schemeClr>
                </a:gs>
              </a:gsLst>
              <a:lin ang="189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ru-RU"/>
            </a:p>
          </p:txBody>
        </p:sp>
        <p:sp>
          <p:nvSpPr>
            <p:cNvPr id="31" name="Oval 66"/>
            <p:cNvSpPr>
              <a:spLocks noChangeArrowheads="1"/>
            </p:cNvSpPr>
            <p:nvPr/>
          </p:nvSpPr>
          <p:spPr bwMode="gray"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rgbClr val="48BE67"/>
                </a:gs>
                <a:gs pos="100000">
                  <a:srgbClr val="48BE67">
                    <a:gamma/>
                    <a:shade val="48627"/>
                    <a:invGamma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ru-RU"/>
            </a:p>
          </p:txBody>
        </p:sp>
      </p:grpSp>
      <p:grpSp>
        <p:nvGrpSpPr>
          <p:cNvPr id="32" name="Group 67"/>
          <p:cNvGrpSpPr>
            <a:grpSpLocks/>
          </p:cNvGrpSpPr>
          <p:nvPr/>
        </p:nvGrpSpPr>
        <p:grpSpPr bwMode="auto">
          <a:xfrm>
            <a:off x="1603263" y="4976139"/>
            <a:ext cx="362614" cy="287256"/>
            <a:chOff x="2078" y="1680"/>
            <a:chExt cx="1615" cy="1615"/>
          </a:xfrm>
        </p:grpSpPr>
        <p:sp>
          <p:nvSpPr>
            <p:cNvPr id="33" name="Oval 68"/>
            <p:cNvSpPr>
              <a:spLocks noChangeArrowheads="1"/>
            </p:cNvSpPr>
            <p:nvPr/>
          </p:nvSpPr>
          <p:spPr bwMode="gray">
            <a:xfrm>
              <a:off x="2078" y="1680"/>
              <a:ext cx="1615" cy="1615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46275"/>
                    <a:invGamma/>
                  </a:srgbClr>
                </a:gs>
                <a:gs pos="50000">
                  <a:srgbClr val="FFFFFF"/>
                </a:gs>
                <a:gs pos="100000">
                  <a:srgbClr val="FFFF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5715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6200" dir="10800000" kx="-3284103" algn="b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34" name="Oval 69"/>
            <p:cNvSpPr>
              <a:spLocks noChangeArrowheads="1"/>
            </p:cNvSpPr>
            <p:nvPr/>
          </p:nvSpPr>
          <p:spPr bwMode="gray">
            <a:xfrm>
              <a:off x="2170" y="1771"/>
              <a:ext cx="1430" cy="1430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63529"/>
                    <a:invGamma/>
                  </a:srgbClr>
                </a:gs>
                <a:gs pos="50000">
                  <a:srgbClr val="FFFFFF"/>
                </a:gs>
                <a:gs pos="100000">
                  <a:srgbClr val="FFFFFF">
                    <a:gamma/>
                    <a:shade val="63529"/>
                    <a:invGamma/>
                  </a:srgb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6200" dir="10800000" kx="-3284103" algn="b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35" name="Oval 70"/>
            <p:cNvSpPr>
              <a:spLocks noChangeArrowheads="1"/>
            </p:cNvSpPr>
            <p:nvPr/>
          </p:nvSpPr>
          <p:spPr bwMode="gray">
            <a:xfrm>
              <a:off x="2254" y="1856"/>
              <a:ext cx="1262" cy="1264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tint val="0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tint val="0"/>
                    <a:invGamma/>
                  </a:scheme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ru-RU"/>
            </a:p>
          </p:txBody>
        </p:sp>
        <p:sp>
          <p:nvSpPr>
            <p:cNvPr id="36" name="Oval 71"/>
            <p:cNvSpPr>
              <a:spLocks noChangeArrowheads="1"/>
            </p:cNvSpPr>
            <p:nvPr/>
          </p:nvSpPr>
          <p:spPr bwMode="gray">
            <a:xfrm>
              <a:off x="2254" y="1856"/>
              <a:ext cx="1262" cy="1264"/>
            </a:xfrm>
            <a:prstGeom prst="ellipse">
              <a:avLst/>
            </a:prstGeom>
            <a:gradFill rotWithShape="1">
              <a:gsLst>
                <a:gs pos="0">
                  <a:srgbClr val="21B3E1"/>
                </a:gs>
                <a:gs pos="100000">
                  <a:srgbClr val="21B3E1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ru-RU"/>
            </a:p>
          </p:txBody>
        </p:sp>
        <p:sp>
          <p:nvSpPr>
            <p:cNvPr id="37" name="Oval 72"/>
            <p:cNvSpPr>
              <a:spLocks noChangeArrowheads="1"/>
            </p:cNvSpPr>
            <p:nvPr/>
          </p:nvSpPr>
          <p:spPr bwMode="gray"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shade val="54118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shade val="54118"/>
                    <a:invGamma/>
                  </a:schemeClr>
                </a:gs>
              </a:gsLst>
              <a:lin ang="189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ru-RU"/>
            </a:p>
          </p:txBody>
        </p:sp>
        <p:sp>
          <p:nvSpPr>
            <p:cNvPr id="38" name="Oval 73"/>
            <p:cNvSpPr>
              <a:spLocks noChangeArrowheads="1"/>
            </p:cNvSpPr>
            <p:nvPr/>
          </p:nvSpPr>
          <p:spPr bwMode="gray"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rgbClr val="21B3E1"/>
                </a:gs>
                <a:gs pos="100000">
                  <a:srgbClr val="21B3E1">
                    <a:gamma/>
                    <a:shade val="48627"/>
                    <a:invGamma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ru-RU"/>
            </a:p>
          </p:txBody>
        </p:sp>
      </p:grpSp>
      <p:sp>
        <p:nvSpPr>
          <p:cNvPr id="39" name="TextBox 38"/>
          <p:cNvSpPr txBox="1"/>
          <p:nvPr/>
        </p:nvSpPr>
        <p:spPr>
          <a:xfrm>
            <a:off x="128896" y="4771315"/>
            <a:ext cx="85472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воды:</a:t>
            </a:r>
          </a:p>
        </p:txBody>
      </p:sp>
      <p:grpSp>
        <p:nvGrpSpPr>
          <p:cNvPr id="40" name="Group 60"/>
          <p:cNvGrpSpPr>
            <a:grpSpLocks/>
          </p:cNvGrpSpPr>
          <p:nvPr/>
        </p:nvGrpSpPr>
        <p:grpSpPr bwMode="auto">
          <a:xfrm>
            <a:off x="1475370" y="5552611"/>
            <a:ext cx="362614" cy="287256"/>
            <a:chOff x="2078" y="1680"/>
            <a:chExt cx="1615" cy="1615"/>
          </a:xfrm>
        </p:grpSpPr>
        <p:sp>
          <p:nvSpPr>
            <p:cNvPr id="41" name="Oval 61"/>
            <p:cNvSpPr>
              <a:spLocks noChangeArrowheads="1"/>
            </p:cNvSpPr>
            <p:nvPr/>
          </p:nvSpPr>
          <p:spPr bwMode="gray">
            <a:xfrm>
              <a:off x="2078" y="1680"/>
              <a:ext cx="1615" cy="1615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46275"/>
                    <a:invGamma/>
                  </a:srgbClr>
                </a:gs>
                <a:gs pos="50000">
                  <a:srgbClr val="FFFFFF"/>
                </a:gs>
                <a:gs pos="100000">
                  <a:srgbClr val="FFFF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5715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6200" dir="10800000" kx="-3284103" algn="b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2" name="Oval 62"/>
            <p:cNvSpPr>
              <a:spLocks noChangeArrowheads="1"/>
            </p:cNvSpPr>
            <p:nvPr/>
          </p:nvSpPr>
          <p:spPr bwMode="gray">
            <a:xfrm>
              <a:off x="2170" y="1771"/>
              <a:ext cx="1430" cy="1430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63529"/>
                    <a:invGamma/>
                  </a:srgbClr>
                </a:gs>
                <a:gs pos="50000">
                  <a:srgbClr val="FFFFFF"/>
                </a:gs>
                <a:gs pos="100000">
                  <a:srgbClr val="FFFFFF">
                    <a:gamma/>
                    <a:shade val="63529"/>
                    <a:invGamma/>
                  </a:srgb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6200" dir="10800000" kx="-3284103" algn="b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43" name="Oval 63"/>
            <p:cNvSpPr>
              <a:spLocks noChangeArrowheads="1"/>
            </p:cNvSpPr>
            <p:nvPr/>
          </p:nvSpPr>
          <p:spPr bwMode="gray">
            <a:xfrm>
              <a:off x="2254" y="1856"/>
              <a:ext cx="1262" cy="1264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tint val="0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tint val="0"/>
                    <a:invGamma/>
                  </a:scheme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ru-RU"/>
            </a:p>
          </p:txBody>
        </p:sp>
        <p:sp>
          <p:nvSpPr>
            <p:cNvPr id="44" name="Oval 64"/>
            <p:cNvSpPr>
              <a:spLocks noChangeArrowheads="1"/>
            </p:cNvSpPr>
            <p:nvPr/>
          </p:nvSpPr>
          <p:spPr bwMode="gray">
            <a:xfrm>
              <a:off x="2254" y="1856"/>
              <a:ext cx="1262" cy="1264"/>
            </a:xfrm>
            <a:prstGeom prst="ellipse">
              <a:avLst/>
            </a:prstGeom>
            <a:gradFill rotWithShape="1">
              <a:gsLst>
                <a:gs pos="0">
                  <a:srgbClr val="48BE67">
                    <a:gamma/>
                    <a:shade val="0"/>
                    <a:invGamma/>
                  </a:srgbClr>
                </a:gs>
                <a:gs pos="100000">
                  <a:srgbClr val="48BE67"/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ru-RU"/>
            </a:p>
          </p:txBody>
        </p:sp>
        <p:sp>
          <p:nvSpPr>
            <p:cNvPr id="45" name="Oval 65"/>
            <p:cNvSpPr>
              <a:spLocks noChangeArrowheads="1"/>
            </p:cNvSpPr>
            <p:nvPr/>
          </p:nvSpPr>
          <p:spPr bwMode="gray"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shade val="54118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shade val="54118"/>
                    <a:invGamma/>
                  </a:schemeClr>
                </a:gs>
              </a:gsLst>
              <a:lin ang="189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ru-RU"/>
            </a:p>
          </p:txBody>
        </p:sp>
        <p:sp>
          <p:nvSpPr>
            <p:cNvPr id="46" name="Oval 66"/>
            <p:cNvSpPr>
              <a:spLocks noChangeArrowheads="1"/>
            </p:cNvSpPr>
            <p:nvPr/>
          </p:nvSpPr>
          <p:spPr bwMode="gray">
            <a:xfrm>
              <a:off x="2337" y="1939"/>
              <a:ext cx="1096" cy="1098"/>
            </a:xfrm>
            <a:prstGeom prst="ellips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ru-RU"/>
            </a:p>
          </p:txBody>
        </p:sp>
      </p:grpSp>
      <p:sp>
        <p:nvSpPr>
          <p:cNvPr id="47" name="AutoShape 51"/>
          <p:cNvSpPr>
            <a:spLocks noChangeArrowheads="1"/>
          </p:cNvSpPr>
          <p:nvPr/>
        </p:nvSpPr>
        <p:spPr bwMode="gray">
          <a:xfrm>
            <a:off x="1888664" y="5537653"/>
            <a:ext cx="4206319" cy="383008"/>
          </a:xfrm>
          <a:prstGeom prst="roundRect">
            <a:avLst>
              <a:gd name="adj" fmla="val 50000"/>
            </a:avLst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</a:schemeClr>
                    </a:gs>
                    <a:gs pos="100000">
                      <a:schemeClr val="hlink"/>
                    </a:gs>
                  </a:gsLst>
                  <a:lin ang="0" scaled="1"/>
                </a:gra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76200" dir="10800000" kx="-3284103" algn="b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/>
            <a:r>
              <a:rPr lang="ru-RU" altLang="ru-RU" sz="1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е качества образования</a:t>
            </a:r>
            <a:endParaRPr lang="en-US" altLang="ru-RU" sz="16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557127" y="3920785"/>
            <a:ext cx="3018775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 по проекту:</a:t>
            </a:r>
          </a:p>
          <a:p>
            <a:pPr algn="ctr"/>
            <a:r>
              <a:rPr lang="ru-RU" altLang="zh-CN" sz="1400" kern="0" dirty="0">
                <a:solidFill>
                  <a:srgbClr val="002060"/>
                </a:solidFill>
                <a:latin typeface="Times New Roman" pitchFamily="18" charset="0"/>
                <a:ea typeface="微软雅黑" pitchFamily="34" charset="-122"/>
                <a:cs typeface="Times New Roman" pitchFamily="18" charset="0"/>
              </a:rPr>
              <a:t>Проект закрыть (ключевые </a:t>
            </a:r>
            <a:endParaRPr lang="ru-RU" altLang="zh-CN" sz="1400" kern="0" dirty="0" smtClean="0">
              <a:solidFill>
                <a:srgbClr val="002060"/>
              </a:solidFill>
              <a:latin typeface="Times New Roman" pitchFamily="18" charset="0"/>
              <a:ea typeface="微软雅黑" pitchFamily="34" charset="-122"/>
              <a:cs typeface="Times New Roman" pitchFamily="18" charset="0"/>
            </a:endParaRPr>
          </a:p>
          <a:p>
            <a:pPr algn="ctr"/>
            <a:r>
              <a:rPr lang="ru-RU" altLang="zh-CN" sz="1400" kern="0" dirty="0" smtClean="0">
                <a:solidFill>
                  <a:srgbClr val="002060"/>
                </a:solidFill>
                <a:latin typeface="Times New Roman" pitchFamily="18" charset="0"/>
                <a:ea typeface="微软雅黑" pitchFamily="34" charset="-122"/>
                <a:cs typeface="Times New Roman" pitchFamily="18" charset="0"/>
              </a:rPr>
              <a:t>запланированные </a:t>
            </a:r>
          </a:p>
          <a:p>
            <a:pPr algn="ctr"/>
            <a:r>
              <a:rPr lang="ru-RU" altLang="zh-CN" sz="1400" kern="0" dirty="0" smtClean="0">
                <a:solidFill>
                  <a:srgbClr val="002060"/>
                </a:solidFill>
                <a:latin typeface="Times New Roman" pitchFamily="18" charset="0"/>
                <a:ea typeface="微软雅黑" pitchFamily="34" charset="-122"/>
                <a:cs typeface="Times New Roman" pitchFamily="18" charset="0"/>
              </a:rPr>
              <a:t>мероприятия </a:t>
            </a:r>
            <a:r>
              <a:rPr lang="ru-RU" altLang="zh-CN" sz="1400" kern="0" dirty="0">
                <a:solidFill>
                  <a:srgbClr val="002060"/>
                </a:solidFill>
                <a:latin typeface="Times New Roman" pitchFamily="18" charset="0"/>
                <a:ea typeface="微软雅黑" pitchFamily="34" charset="-122"/>
                <a:cs typeface="Times New Roman" pitchFamily="18" charset="0"/>
              </a:rPr>
              <a:t>достигнуты, </a:t>
            </a:r>
            <a:endParaRPr lang="ru-RU" altLang="zh-CN" sz="1400" kern="0" dirty="0" smtClean="0">
              <a:solidFill>
                <a:srgbClr val="002060"/>
              </a:solidFill>
              <a:latin typeface="Times New Roman" pitchFamily="18" charset="0"/>
              <a:ea typeface="微软雅黑" pitchFamily="34" charset="-122"/>
              <a:cs typeface="Times New Roman" pitchFamily="18" charset="0"/>
            </a:endParaRPr>
          </a:p>
          <a:p>
            <a:pPr algn="ctr"/>
            <a:r>
              <a:rPr lang="ru-RU" altLang="zh-CN" sz="1400" kern="0" dirty="0" smtClean="0">
                <a:solidFill>
                  <a:srgbClr val="002060"/>
                </a:solidFill>
                <a:latin typeface="Times New Roman" pitchFamily="18" charset="0"/>
                <a:ea typeface="微软雅黑" pitchFamily="34" charset="-122"/>
                <a:cs typeface="Times New Roman" pitchFamily="18" charset="0"/>
              </a:rPr>
              <a:t>разработаны </a:t>
            </a:r>
            <a:r>
              <a:rPr lang="ru-RU" altLang="zh-CN" sz="1400" kern="0" dirty="0">
                <a:solidFill>
                  <a:srgbClr val="002060"/>
                </a:solidFill>
                <a:latin typeface="Times New Roman" pitchFamily="18" charset="0"/>
                <a:ea typeface="微软雅黑" pitchFamily="34" charset="-122"/>
                <a:cs typeface="Times New Roman" pitchFamily="18" charset="0"/>
              </a:rPr>
              <a:t>рекомендации </a:t>
            </a:r>
            <a:endParaRPr lang="ru-RU" altLang="zh-CN" sz="1400" kern="0" dirty="0" smtClean="0">
              <a:solidFill>
                <a:srgbClr val="002060"/>
              </a:solidFill>
              <a:latin typeface="Times New Roman" pitchFamily="18" charset="0"/>
              <a:ea typeface="微软雅黑" pitchFamily="34" charset="-122"/>
              <a:cs typeface="Times New Roman" pitchFamily="18" charset="0"/>
            </a:endParaRPr>
          </a:p>
          <a:p>
            <a:pPr algn="ctr"/>
            <a:r>
              <a:rPr lang="ru-RU" altLang="zh-CN" sz="1400" kern="0" dirty="0" smtClean="0">
                <a:solidFill>
                  <a:srgbClr val="002060"/>
                </a:solidFill>
                <a:latin typeface="Times New Roman" pitchFamily="18" charset="0"/>
                <a:ea typeface="微软雅黑" pitchFamily="34" charset="-122"/>
                <a:cs typeface="Times New Roman" pitchFamily="18" charset="0"/>
              </a:rPr>
              <a:t>для </a:t>
            </a:r>
            <a:r>
              <a:rPr lang="ru-RU" altLang="zh-CN" sz="1400" kern="0" dirty="0">
                <a:solidFill>
                  <a:srgbClr val="002060"/>
                </a:solidFill>
                <a:latin typeface="Times New Roman" pitchFamily="18" charset="0"/>
                <a:ea typeface="微软雅黑" pitchFamily="34" charset="-122"/>
                <a:cs typeface="Times New Roman" pitchFamily="18" charset="0"/>
              </a:rPr>
              <a:t>работы в следующих проектах</a:t>
            </a:r>
            <a:endParaRPr lang="zh-CN" altLang="en-US" sz="1400" kern="0" dirty="0">
              <a:solidFill>
                <a:srgbClr val="002060"/>
              </a:solidFill>
              <a:latin typeface="Times New Roman" pitchFamily="18" charset="0"/>
              <a:ea typeface="微软雅黑" pitchFamily="34" charset="-122"/>
              <a:cs typeface="Times New Roman" pitchFamily="18" charset="0"/>
            </a:endParaRPr>
          </a:p>
          <a:p>
            <a:endPara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48" name="Group 67"/>
          <p:cNvGrpSpPr>
            <a:grpSpLocks/>
          </p:cNvGrpSpPr>
          <p:nvPr/>
        </p:nvGrpSpPr>
        <p:grpSpPr bwMode="auto">
          <a:xfrm>
            <a:off x="1163996" y="6013689"/>
            <a:ext cx="362614" cy="287256"/>
            <a:chOff x="2078" y="1680"/>
            <a:chExt cx="1615" cy="1615"/>
          </a:xfrm>
        </p:grpSpPr>
        <p:sp>
          <p:nvSpPr>
            <p:cNvPr id="49" name="Oval 68"/>
            <p:cNvSpPr>
              <a:spLocks noChangeArrowheads="1"/>
            </p:cNvSpPr>
            <p:nvPr/>
          </p:nvSpPr>
          <p:spPr bwMode="gray">
            <a:xfrm>
              <a:off x="2078" y="1680"/>
              <a:ext cx="1615" cy="1615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46275"/>
                    <a:invGamma/>
                  </a:srgbClr>
                </a:gs>
                <a:gs pos="50000">
                  <a:srgbClr val="FFFFFF"/>
                </a:gs>
                <a:gs pos="100000">
                  <a:srgbClr val="FFFFFF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5715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6200" dir="10800000" kx="-3284103" algn="b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50" name="Oval 69"/>
            <p:cNvSpPr>
              <a:spLocks noChangeArrowheads="1"/>
            </p:cNvSpPr>
            <p:nvPr/>
          </p:nvSpPr>
          <p:spPr bwMode="gray">
            <a:xfrm>
              <a:off x="2170" y="1771"/>
              <a:ext cx="1430" cy="1430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gamma/>
                    <a:shade val="63529"/>
                    <a:invGamma/>
                  </a:srgbClr>
                </a:gs>
                <a:gs pos="50000">
                  <a:srgbClr val="FFFFFF"/>
                </a:gs>
                <a:gs pos="100000">
                  <a:srgbClr val="FFFFFF">
                    <a:gamma/>
                    <a:shade val="63529"/>
                    <a:invGamma/>
                  </a:srgb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76200" dir="10800000" kx="-3284103" algn="br" rotWithShape="0">
                      <a:schemeClr val="bg2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51" name="Oval 70"/>
            <p:cNvSpPr>
              <a:spLocks noChangeArrowheads="1"/>
            </p:cNvSpPr>
            <p:nvPr/>
          </p:nvSpPr>
          <p:spPr bwMode="gray">
            <a:xfrm>
              <a:off x="2254" y="1856"/>
              <a:ext cx="1262" cy="1264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tint val="0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tint val="0"/>
                    <a:invGamma/>
                  </a:scheme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ru-RU"/>
            </a:p>
          </p:txBody>
        </p:sp>
        <p:sp>
          <p:nvSpPr>
            <p:cNvPr id="52" name="Oval 71"/>
            <p:cNvSpPr>
              <a:spLocks noChangeArrowheads="1"/>
            </p:cNvSpPr>
            <p:nvPr/>
          </p:nvSpPr>
          <p:spPr bwMode="gray">
            <a:xfrm>
              <a:off x="2254" y="1856"/>
              <a:ext cx="1262" cy="1264"/>
            </a:xfrm>
            <a:prstGeom prst="ellipse">
              <a:avLst/>
            </a:prstGeom>
            <a:gradFill rotWithShape="1">
              <a:gsLst>
                <a:gs pos="0">
                  <a:srgbClr val="21B3E1"/>
                </a:gs>
                <a:gs pos="100000">
                  <a:srgbClr val="21B3E1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endParaRPr lang="ru-RU"/>
            </a:p>
          </p:txBody>
        </p:sp>
        <p:sp>
          <p:nvSpPr>
            <p:cNvPr id="53" name="Oval 72"/>
            <p:cNvSpPr>
              <a:spLocks noChangeArrowheads="1"/>
            </p:cNvSpPr>
            <p:nvPr/>
          </p:nvSpPr>
          <p:spPr bwMode="gray"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shade val="54118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shade val="54118"/>
                    <a:invGamma/>
                  </a:schemeClr>
                </a:gs>
              </a:gsLst>
              <a:lin ang="189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ru-RU"/>
            </a:p>
          </p:txBody>
        </p:sp>
        <p:sp>
          <p:nvSpPr>
            <p:cNvPr id="54" name="Oval 73"/>
            <p:cNvSpPr>
              <a:spLocks noChangeArrowheads="1"/>
            </p:cNvSpPr>
            <p:nvPr/>
          </p:nvSpPr>
          <p:spPr bwMode="gray">
            <a:xfrm>
              <a:off x="2337" y="1939"/>
              <a:ext cx="1096" cy="1098"/>
            </a:xfrm>
            <a:prstGeom prst="ellipse">
              <a:avLst/>
            </a:prstGeom>
            <a:gradFill rotWithShape="1">
              <a:gsLst>
                <a:gs pos="0">
                  <a:srgbClr val="21B3E1"/>
                </a:gs>
                <a:gs pos="100000">
                  <a:srgbClr val="21B3E1">
                    <a:gamma/>
                    <a:shade val="48627"/>
                    <a:invGamma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ru-RU"/>
            </a:p>
          </p:txBody>
        </p:sp>
      </p:grpSp>
      <p:sp>
        <p:nvSpPr>
          <p:cNvPr id="55" name="AutoShape 51"/>
          <p:cNvSpPr>
            <a:spLocks noChangeArrowheads="1"/>
          </p:cNvSpPr>
          <p:nvPr/>
        </p:nvSpPr>
        <p:spPr bwMode="gray">
          <a:xfrm>
            <a:off x="1549999" y="6074860"/>
            <a:ext cx="4411113" cy="450483"/>
          </a:xfrm>
          <a:prstGeom prst="roundRect">
            <a:avLst>
              <a:gd name="adj" fmla="val 50000"/>
            </a:avLst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hlink">
                        <a:gamma/>
                        <a:tint val="0"/>
                        <a:invGamma/>
                      </a:schemeClr>
                    </a:gs>
                    <a:gs pos="100000">
                      <a:schemeClr val="hlink"/>
                    </a:gs>
                  </a:gsLst>
                  <a:lin ang="0" scaled="1"/>
                </a:gra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76200" dir="10800000" kx="-3284103" algn="b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0" hangingPunct="0"/>
            <a:r>
              <a:rPr lang="ru-RU" sz="16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ижение </a:t>
            </a:r>
            <a:r>
              <a:rPr lang="ru-RU" sz="16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ансовых затрат учреждения </a:t>
            </a:r>
            <a:endParaRPr lang="ru-RU" sz="1600" b="1" dirty="0" smtClean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0" hangingPunct="0"/>
            <a:r>
              <a:rPr lang="ru-RU" sz="1600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</a:t>
            </a:r>
            <a:r>
              <a:rPr lang="ru-RU" sz="1600" b="1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ходные материалы</a:t>
            </a:r>
            <a:endParaRPr lang="en-US" altLang="ru-RU" sz="1600" b="1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82632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0" y="144423"/>
            <a:ext cx="7661677" cy="887318"/>
            <a:chOff x="-116389" y="156635"/>
            <a:chExt cx="7331090" cy="738942"/>
          </a:xfrm>
        </p:grpSpPr>
        <p:sp>
          <p:nvSpPr>
            <p:cNvPr id="6" name="Скругленный прямоугольник 5"/>
            <p:cNvSpPr/>
            <p:nvPr/>
          </p:nvSpPr>
          <p:spPr>
            <a:xfrm>
              <a:off x="-114563" y="156635"/>
              <a:ext cx="7329264" cy="64807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smtClean="0">
                <a:gradFill flip="none" rotWithShape="1">
                  <a:gsLst>
                    <a:gs pos="0">
                      <a:schemeClr val="accent1">
                        <a:lumMod val="67000"/>
                      </a:schemeClr>
                    </a:gs>
                    <a:gs pos="48000">
                      <a:schemeClr val="accent1">
                        <a:lumMod val="97000"/>
                        <a:lumOff val="3000"/>
                      </a:schemeClr>
                    </a:gs>
                    <a:gs pos="100000">
                      <a:schemeClr val="accent1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</a:endParaRPr>
            </a:p>
          </p:txBody>
        </p:sp>
        <p:sp>
          <p:nvSpPr>
            <p:cNvPr id="7" name="Скругленный прямоугольник 6"/>
            <p:cNvSpPr/>
            <p:nvPr/>
          </p:nvSpPr>
          <p:spPr>
            <a:xfrm>
              <a:off x="-116389" y="219156"/>
              <a:ext cx="7249135" cy="676421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smtClean="0">
                <a:solidFill>
                  <a:srgbClr val="08486B"/>
                </a:solidFill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128464" y="171586"/>
            <a:ext cx="701300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600" b="1" dirty="0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Microsoft YaHei" pitchFamily="34" charset="-122"/>
                <a:cs typeface="Times New Roman" panose="02020603050405020304" pitchFamily="18" charset="0"/>
              </a:rPr>
              <a:t>Чек-лист качества проекта «</a:t>
            </a: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Microsoft YaHei" pitchFamily="34" charset="-122"/>
                <a:cs typeface="Times New Roman" panose="02020603050405020304" pitchFamily="18" charset="0"/>
              </a:rPr>
              <a:t>Оптимизация процесса проведения фронтального опроса и/или </a:t>
            </a:r>
            <a:r>
              <a:rPr lang="ru-RU" sz="1600" b="1" dirty="0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Microsoft YaHei" pitchFamily="34" charset="-122"/>
                <a:cs typeface="Times New Roman" panose="02020603050405020304" pitchFamily="18" charset="0"/>
              </a:rPr>
              <a:t>тестирования </a:t>
            </a: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Microsoft YaHei" pitchFamily="34" charset="-122"/>
                <a:cs typeface="Times New Roman" panose="02020603050405020304" pitchFamily="18" charset="0"/>
              </a:rPr>
              <a:t>с помощью использования приложения </a:t>
            </a:r>
            <a:r>
              <a:rPr lang="en-US" sz="1600" b="1" dirty="0" err="1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Microsoft YaHei" pitchFamily="34" charset="-122"/>
                <a:cs typeface="Times New Roman" panose="02020603050405020304" pitchFamily="18" charset="0"/>
              </a:rPr>
              <a:t>Plickers</a:t>
            </a:r>
            <a:r>
              <a:rPr lang="ru-RU" sz="1600" b="1" dirty="0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Microsoft YaHei" pitchFamily="34" charset="-122"/>
                <a:cs typeface="Times New Roman" panose="02020603050405020304" pitchFamily="18" charset="0"/>
              </a:rPr>
              <a:t>»</a:t>
            </a:r>
            <a:endParaRPr lang="ru-RU" sz="1600" b="1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Microsoft YaHei" pitchFamily="34" charset="-122"/>
              <a:cs typeface="Times New Roman" panose="02020603050405020304" pitchFamily="18" charset="0"/>
            </a:endParaRPr>
          </a:p>
        </p:txBody>
      </p:sp>
      <p:graphicFrame>
        <p:nvGraphicFramePr>
          <p:cNvPr id="48" name="Таблица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2231120"/>
              </p:ext>
            </p:extLst>
          </p:nvPr>
        </p:nvGraphicFramePr>
        <p:xfrm>
          <a:off x="632521" y="1112778"/>
          <a:ext cx="8352928" cy="54330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412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72454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83052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36373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488633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r>
                        <a:rPr lang="ru-RU" sz="1200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/п</a:t>
                      </a:r>
                      <a:endParaRPr lang="ru-RU" sz="1200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тапы</a:t>
                      </a:r>
                      <a:endParaRPr lang="ru-RU" sz="1200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роприятия</a:t>
                      </a:r>
                      <a:endParaRPr lang="ru-RU" sz="1200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тус</a:t>
                      </a:r>
                      <a:endParaRPr lang="ru-RU" sz="1200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46561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рт проекта.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тверждение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остава проектной группы по внедрению проекта.</a:t>
                      </a:r>
                      <a:endParaRPr lang="ru-RU" sz="12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полнено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24463">
                <a:tc rowSpan="5"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rowSpan="5">
                  <a:txBody>
                    <a:bodyPr/>
                    <a:lstStyle/>
                    <a:p>
                      <a:pPr algn="just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готовительный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иагностика и подготовка оборудования школы для работы с приложением </a:t>
                      </a:r>
                      <a:r>
                        <a:rPr lang="en-US" sz="12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lickers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93297" marR="93297" marT="46649" marB="46649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полнено</a:t>
                      </a:r>
                    </a:p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46561">
                <a:tc vMerge="1">
                  <a:txBody>
                    <a:bodyPr/>
                    <a:lstStyle/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 vMerge="1">
                  <a:txBody>
                    <a:bodyPr/>
                    <a:lstStyle/>
                    <a:p>
                      <a:pPr algn="just"/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pPr marL="0" marR="0" lvl="0" indent="0" algn="l" defTabSz="95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гистрация учителей на сайте </a:t>
                      </a:r>
                      <a:r>
                        <a:rPr lang="en-US" sz="12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lickers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720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полнено</a:t>
                      </a:r>
                    </a:p>
                    <a:p>
                      <a:pPr marL="0" marR="0" lvl="0" indent="0" algn="l" defTabSz="6720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46561">
                <a:tc vMerge="1">
                  <a:txBody>
                    <a:bodyPr/>
                    <a:lstStyle/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 vMerge="1">
                  <a:txBody>
                    <a:bodyPr/>
                    <a:lstStyle/>
                    <a:p>
                      <a:pPr marL="0" marR="0" lvl="0" indent="0" algn="just" defTabSz="6720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pPr marL="0" marR="0" lvl="0" indent="0" algn="l" defTabSz="95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чее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овещание. Обучение навыкам работы с приложением </a:t>
                      </a:r>
                      <a:r>
                        <a:rPr lang="en-US" sz="12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lickers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2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полнено</a:t>
                      </a:r>
                    </a:p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46561">
                <a:tc vMerge="1">
                  <a:txBody>
                    <a:bodyPr/>
                    <a:lstStyle/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 vMerge="1">
                  <a:txBody>
                    <a:bodyPr/>
                    <a:lstStyle/>
                    <a:p>
                      <a:pPr algn="just"/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pPr marL="0" marR="0" lvl="0" indent="0" algn="l" defTabSz="95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качивание мобильного приложения </a:t>
                      </a:r>
                      <a:r>
                        <a:rPr lang="en-US" sz="12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lickers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93297" marR="93297" marT="46649" marB="46649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полнено</a:t>
                      </a:r>
                    </a:p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604194">
                <a:tc vMerge="1">
                  <a:txBody>
                    <a:bodyPr/>
                    <a:lstStyle/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pPr marL="0" marR="0" lvl="0" indent="0" algn="l" defTabSz="95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«классов» на сайте </a:t>
                      </a:r>
                      <a:r>
                        <a:rPr lang="en-US" sz="12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lickers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Подготовка оценочных карточек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полнено</a:t>
                      </a:r>
                    </a:p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68660">
                <a:tc rowSpan="2"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новной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сультации по работе с приложением</a:t>
                      </a:r>
                    </a:p>
                  </a:txBody>
                  <a:tcPr marL="93297" marR="93297" marT="46649" marB="4664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полнено</a:t>
                      </a:r>
                    </a:p>
                  </a:txBody>
                  <a:tcPr marL="93297" marR="93297" marT="46649" marB="4664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32067">
                <a:tc vMerge="1">
                  <a:txBody>
                    <a:bodyPr/>
                    <a:lstStyle/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pPr marL="0" marR="0" lvl="0" indent="0" algn="l" defTabSz="95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лизация проекта</a:t>
                      </a:r>
                    </a:p>
                  </a:txBody>
                  <a:tcPr marL="93297" marR="93297" marT="46649" marB="4664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полнено</a:t>
                      </a:r>
                    </a:p>
                  </a:txBody>
                  <a:tcPr marL="93297" marR="93297" marT="46649" marB="46649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511834">
                <a:tc rowSpan="2">
                  <a:txBody>
                    <a:bodyPr/>
                    <a:lstStyle/>
                    <a:p>
                      <a:pPr marL="0" algn="l" defTabSz="954217" rtl="0" eaLnBrk="1" latinLnBrk="0" hangingPunct="1"/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 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algn="l" defTabSz="954217" rtl="0" eaLnBrk="1" latinLnBrk="0" hangingPunct="1"/>
                      <a:endParaRPr lang="ru-RU" sz="12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l" defTabSz="954217" rtl="0" eaLnBrk="1" latinLnBrk="0" hangingPunct="1"/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Заключительный</a:t>
                      </a:r>
                      <a:endParaRPr lang="ru-RU" sz="12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Анализ результатов внедрения проекта </a:t>
                      </a:r>
                    </a:p>
                    <a:p>
                      <a:pPr marL="0" algn="l" defTabSz="954217" rtl="0" eaLnBrk="1" latinLnBrk="0" hangingPunct="1"/>
                      <a:endParaRPr lang="ru-RU" sz="12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полнено</a:t>
                      </a:r>
                    </a:p>
                    <a:p>
                      <a:pPr marL="0" algn="l" defTabSz="954217" rtl="0" eaLnBrk="1" latinLnBrk="0" hangingPunct="1"/>
                      <a:endParaRPr lang="ru-RU" sz="12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624463">
                <a:tc vMerge="1">
                  <a:txBody>
                    <a:bodyPr/>
                    <a:lstStyle/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 vMerge="1">
                  <a:txBody>
                    <a:bodyPr/>
                    <a:lstStyle/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pPr marL="0" marR="0" lvl="0" indent="0" algn="l" defTabSz="95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вещание по итогам реализации проекта</a:t>
                      </a:r>
                    </a:p>
                    <a:p>
                      <a:pPr marL="0" algn="l" defTabSz="954217" rtl="0" eaLnBrk="1" latinLnBrk="0" hangingPunct="1"/>
                      <a:endParaRPr lang="ru-RU" sz="12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42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полнено</a:t>
                      </a:r>
                    </a:p>
                    <a:p>
                      <a:pPr marL="0" algn="l" defTabSz="954217" rtl="0" eaLnBrk="1" latinLnBrk="0" hangingPunct="1"/>
                      <a:endParaRPr lang="ru-RU" sz="12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40305720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B148DC-A899-4108-80E1-A8AA8154927C}" type="slidenum">
              <a:rPr lang="ru-RU" smtClean="0">
                <a:solidFill>
                  <a:srgbClr val="0D6186"/>
                </a:solidFill>
              </a:rPr>
              <a:pPr>
                <a:defRPr/>
              </a:pPr>
              <a:t>13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080792" y="3068960"/>
            <a:ext cx="405790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3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асибо за внимание!</a:t>
            </a:r>
            <a:endParaRPr lang="ru-RU" sz="3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Box 3"/>
          <p:cNvSpPr txBox="1">
            <a:spLocks noChangeArrowheads="1"/>
          </p:cNvSpPr>
          <p:nvPr/>
        </p:nvSpPr>
        <p:spPr bwMode="auto">
          <a:xfrm>
            <a:off x="243338" y="3902563"/>
            <a:ext cx="4346591" cy="2700219"/>
          </a:xfrm>
          <a:prstGeom prst="rect">
            <a:avLst/>
          </a:prstGeom>
          <a:noFill/>
          <a:ln w="9360" cap="sq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3231" tIns="46796" rIns="93231" bIns="46796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buClrTx/>
              <a:buFontTx/>
              <a:buNone/>
            </a:pPr>
            <a:endParaRPr lang="ru-RU" sz="1224" b="1" u="sng" dirty="0">
              <a:solidFill>
                <a:srgbClr val="306FAE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buClrTx/>
              <a:buFontTx/>
              <a:buNone/>
            </a:pPr>
            <a:endParaRPr lang="ru-RU" sz="1020" b="1" u="sng" dirty="0" smtClean="0">
              <a:solidFill>
                <a:srgbClr val="306FAE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eaLnBrk="1" hangingPunct="1">
              <a:buClrTx/>
              <a:buFontTx/>
              <a:buNone/>
            </a:pPr>
            <a:r>
              <a:rPr lang="ru-RU" sz="1020" b="1" u="sng" dirty="0" smtClean="0">
                <a:solidFill>
                  <a:srgbClr val="306FAE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1020" b="1" u="sng" dirty="0">
                <a:solidFill>
                  <a:srgbClr val="306FAE"/>
                </a:solidFill>
                <a:latin typeface="Times New Roman" pitchFamily="18" charset="0"/>
                <a:cs typeface="Times New Roman" pitchFamily="18" charset="0"/>
              </a:rPr>
              <a:t>. Цели и плановый эффект</a:t>
            </a:r>
          </a:p>
          <a:p>
            <a:pPr algn="ctr" eaLnBrk="1" hangingPunct="1">
              <a:buClrTx/>
              <a:buFontTx/>
              <a:buNone/>
            </a:pPr>
            <a:endParaRPr lang="ru-RU" sz="1020" b="1" u="sng" dirty="0">
              <a:solidFill>
                <a:srgbClr val="306FAE"/>
              </a:solidFill>
              <a:cs typeface="Times New Roman" pitchFamily="18" charset="0"/>
            </a:endParaRPr>
          </a:p>
          <a:p>
            <a:pPr algn="ctr" eaLnBrk="1" hangingPunct="1">
              <a:buClrTx/>
              <a:buFontTx/>
              <a:buNone/>
            </a:pPr>
            <a:endParaRPr lang="ru-RU" sz="1020" b="1" u="sng" dirty="0">
              <a:solidFill>
                <a:srgbClr val="306FAE"/>
              </a:solidFill>
              <a:cs typeface="Times New Roman" pitchFamily="18" charset="0"/>
            </a:endParaRPr>
          </a:p>
          <a:p>
            <a:pPr algn="ctr" eaLnBrk="1" hangingPunct="1">
              <a:buClrTx/>
              <a:buFontTx/>
              <a:buNone/>
            </a:pPr>
            <a:endParaRPr lang="ru-RU" sz="1020" b="1" u="sng" dirty="0">
              <a:solidFill>
                <a:srgbClr val="306FAE"/>
              </a:solidFill>
              <a:cs typeface="Times New Roman" pitchFamily="18" charset="0"/>
            </a:endParaRPr>
          </a:p>
          <a:p>
            <a:pPr algn="ctr" eaLnBrk="1" hangingPunct="1">
              <a:buClrTx/>
              <a:buFontTx/>
              <a:buNone/>
            </a:pPr>
            <a:endParaRPr lang="ru-RU" sz="1020" b="1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020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020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020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020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020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020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020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224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224" dirty="0">
              <a:solidFill>
                <a:srgbClr val="000000"/>
              </a:solidFill>
              <a:cs typeface="Times New Roman" pitchFamily="18" charset="0"/>
            </a:endParaRPr>
          </a:p>
        </p:txBody>
      </p:sp>
      <p:sp>
        <p:nvSpPr>
          <p:cNvPr id="11" name="Text Box 4"/>
          <p:cNvSpPr txBox="1">
            <a:spLocks noChangeArrowheads="1"/>
          </p:cNvSpPr>
          <p:nvPr/>
        </p:nvSpPr>
        <p:spPr bwMode="auto">
          <a:xfrm>
            <a:off x="4969910" y="3930825"/>
            <a:ext cx="4355635" cy="2450503"/>
          </a:xfrm>
          <a:prstGeom prst="rect">
            <a:avLst/>
          </a:prstGeom>
          <a:noFill/>
          <a:ln w="9360" cap="sq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3231" tIns="46796" rIns="93231" bIns="46796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buClrTx/>
              <a:buFontTx/>
              <a:buNone/>
            </a:pPr>
            <a:endParaRPr lang="ru-RU" sz="1224" b="1" u="sng" dirty="0">
              <a:solidFill>
                <a:srgbClr val="306FAE"/>
              </a:solidFill>
              <a:cs typeface="Times New Roman" pitchFamily="18" charset="0"/>
            </a:endParaRPr>
          </a:p>
          <a:p>
            <a:pPr algn="ctr" eaLnBrk="1" hangingPunct="1">
              <a:buClrTx/>
              <a:buFontTx/>
              <a:buNone/>
            </a:pPr>
            <a:r>
              <a:rPr lang="ru-RU" sz="1020" b="1" u="sng" dirty="0">
                <a:solidFill>
                  <a:srgbClr val="306FAE"/>
                </a:solidFill>
                <a:latin typeface="Times New Roman" pitchFamily="18" charset="0"/>
                <a:cs typeface="Times New Roman" pitchFamily="18" charset="0"/>
              </a:rPr>
              <a:t>4. Ключевые события</a:t>
            </a:r>
          </a:p>
          <a:p>
            <a:pPr algn="ctr" eaLnBrk="1" hangingPunct="1">
              <a:buClrTx/>
              <a:buFontTx/>
              <a:buNone/>
            </a:pPr>
            <a:endParaRPr lang="ru-RU" sz="1020" b="1" u="sng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ts val="612"/>
              </a:spcBef>
            </a:pPr>
            <a:r>
              <a:rPr lang="ru-RU" sz="102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. Старт проекта – январь 2020 года</a:t>
            </a:r>
          </a:p>
          <a:p>
            <a:pPr>
              <a:spcBef>
                <a:spcPts val="612"/>
              </a:spcBef>
            </a:pPr>
            <a:r>
              <a:rPr lang="ru-RU" sz="102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Диагностика и целевое состояние – январь 2020 года</a:t>
            </a:r>
          </a:p>
          <a:p>
            <a:pPr marL="174930" indent="-174930">
              <a:spcBef>
                <a:spcPts val="612"/>
              </a:spcBef>
              <a:buFont typeface="Arial" pitchFamily="34" charset="0"/>
              <a:buChar char="•"/>
            </a:pPr>
            <a:r>
              <a:rPr lang="ru-RU" sz="102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работка текущей карты процесса –  к февралю 2020 года</a:t>
            </a:r>
          </a:p>
          <a:p>
            <a:pPr marL="174930" indent="-174930">
              <a:spcBef>
                <a:spcPts val="612"/>
              </a:spcBef>
              <a:buFont typeface="Arial" pitchFamily="34" charset="0"/>
              <a:buChar char="•"/>
            </a:pPr>
            <a:r>
              <a:rPr lang="ru-RU" sz="102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зработка целевой карты процесса –  к февралю 2020 года</a:t>
            </a:r>
          </a:p>
          <a:p>
            <a:pPr>
              <a:spcBef>
                <a:spcPts val="612"/>
              </a:spcBef>
            </a:pPr>
            <a:r>
              <a:rPr lang="ru-RU" sz="102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Совещание по защите подходов внедрения – февраль 2020 года</a:t>
            </a:r>
          </a:p>
          <a:p>
            <a:pPr>
              <a:spcBef>
                <a:spcPts val="612"/>
              </a:spcBef>
            </a:pPr>
            <a:r>
              <a:rPr lang="ru-RU" sz="102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 Внедрение улучшений –  март-май 2020 год</a:t>
            </a:r>
          </a:p>
          <a:p>
            <a:pPr>
              <a:spcBef>
                <a:spcPts val="612"/>
              </a:spcBef>
            </a:pPr>
            <a:r>
              <a:rPr lang="ru-RU" sz="102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. Завершающее совещание – май 2020 года</a:t>
            </a:r>
          </a:p>
          <a:p>
            <a:pPr>
              <a:spcBef>
                <a:spcPts val="612"/>
              </a:spcBef>
            </a:pPr>
            <a:endParaRPr lang="ru-RU" sz="102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2" name="Group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2643810"/>
              </p:ext>
            </p:extLst>
          </p:nvPr>
        </p:nvGraphicFramePr>
        <p:xfrm>
          <a:off x="335499" y="4691431"/>
          <a:ext cx="4254430" cy="1689897"/>
        </p:xfrm>
        <a:graphic>
          <a:graphicData uri="http://schemas.openxmlformats.org/drawingml/2006/table">
            <a:tbl>
              <a:tblPr/>
              <a:tblGrid>
                <a:gridCol w="227197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8405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9840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416983"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 цели</a:t>
                      </a:r>
                    </a:p>
                  </a:txBody>
                  <a:tcPr marL="93234" marR="93234" marT="46776" marB="46776" horzOverflow="overflow">
                    <a:lnL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екущий показатель</a:t>
                      </a:r>
                    </a:p>
                  </a:txBody>
                  <a:tcPr marL="93234" marR="93234" marT="46776" marB="46776" horzOverflow="overflow">
                    <a:lnL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Целевой показатель</a:t>
                      </a:r>
                    </a:p>
                  </a:txBody>
                  <a:tcPr marL="93234" marR="93234" marT="46776" marB="46776" horzOverflow="overflow">
                    <a:lnL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40414"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 Оптимизация времени проверки, фиксирования и анализа результатов фронтального опроса и/или тестирования</a:t>
                      </a:r>
                    </a:p>
                  </a:txBody>
                  <a:tcPr marL="93234" marR="93234" marT="46776" marB="46776" horzOverflow="overflow">
                    <a:lnL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  <a:sym typeface="Symbol" panose="05050102010706020507" pitchFamily="18" charset="2"/>
                        </a:rPr>
                        <a:t> 60 мин/тест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234" marR="93234" marT="46776" marB="46776" horzOverflow="overflow">
                    <a:lnL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  <a:sym typeface="Symbol" panose="05050102010706020507" pitchFamily="18" charset="2"/>
                        </a:rPr>
                        <a:t> 15 мин/тест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3234" marR="93234" marT="46776" marB="46776" horzOverflow="overflow">
                    <a:lnL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32500"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 Снижение финансовых затрат </a:t>
                      </a:r>
                    </a:p>
                  </a:txBody>
                  <a:tcPr marL="93234" marR="93234" marT="46776" marB="46776" horzOverflow="overflow">
                    <a:lnL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среднем 15 листов/тест </a:t>
                      </a:r>
                    </a:p>
                  </a:txBody>
                  <a:tcPr marL="93234" marR="93234" marT="46776" marB="46776" horzOverflow="overflow">
                    <a:lnL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4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>
                          <a:tab pos="0" algn="l"/>
                          <a:tab pos="447675" algn="l"/>
                          <a:tab pos="896938" algn="l"/>
                          <a:tab pos="1346200" algn="l"/>
                          <a:tab pos="1795463" algn="l"/>
                          <a:tab pos="2244725" algn="l"/>
                          <a:tab pos="2693988" algn="l"/>
                          <a:tab pos="3143250" algn="l"/>
                          <a:tab pos="3592513" algn="l"/>
                          <a:tab pos="4041775" algn="l"/>
                          <a:tab pos="4491038" algn="l"/>
                          <a:tab pos="4940300" algn="l"/>
                          <a:tab pos="5389563" algn="l"/>
                          <a:tab pos="5838825" algn="l"/>
                          <a:tab pos="6288088" algn="l"/>
                          <a:tab pos="6737350" algn="l"/>
                          <a:tab pos="7186613" algn="l"/>
                          <a:tab pos="7635875" algn="l"/>
                          <a:tab pos="8085138" algn="l"/>
                          <a:tab pos="8534400" algn="l"/>
                          <a:tab pos="8983663" algn="l"/>
                        </a:tabLst>
                      </a:pPr>
                      <a:r>
                        <a:rPr kumimoji="0" lang="ru-RU" sz="1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0 листов/тест</a:t>
                      </a:r>
                    </a:p>
                  </a:txBody>
                  <a:tcPr marL="93234" marR="93234" marT="46776" marB="46776" horzOverflow="overflow">
                    <a:lnL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8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" name="Text Box 1"/>
          <p:cNvSpPr txBox="1">
            <a:spLocks noChangeArrowheads="1"/>
          </p:cNvSpPr>
          <p:nvPr/>
        </p:nvSpPr>
        <p:spPr bwMode="auto">
          <a:xfrm>
            <a:off x="239890" y="1327625"/>
            <a:ext cx="4445649" cy="2393767"/>
          </a:xfrm>
          <a:prstGeom prst="rect">
            <a:avLst/>
          </a:prstGeom>
          <a:noFill/>
          <a:ln w="9360" cap="sq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73433" tIns="18358" rIns="73433" bIns="36717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lnSpc>
                <a:spcPct val="150000"/>
              </a:lnSpc>
            </a:pPr>
            <a:r>
              <a:rPr lang="ru-RU" sz="1020" b="1" u="sng" dirty="0">
                <a:solidFill>
                  <a:srgbClr val="306FAE"/>
                </a:solidFill>
                <a:latin typeface="Times New Roman" pitchFamily="18" charset="0"/>
                <a:cs typeface="Times New Roman" pitchFamily="18" charset="0"/>
              </a:rPr>
              <a:t>1. Вовлеченные лица и рамки проекта:</a:t>
            </a:r>
          </a:p>
          <a:p>
            <a:pPr eaLnBrk="1" hangingPunct="1">
              <a:lnSpc>
                <a:spcPct val="150000"/>
              </a:lnSpc>
            </a:pPr>
            <a:r>
              <a:rPr lang="ru-RU" sz="1020" b="1" dirty="0">
                <a:solidFill>
                  <a:srgbClr val="306FAE"/>
                </a:solidFill>
                <a:latin typeface="Times New Roman" pitchFamily="18" charset="0"/>
                <a:cs typeface="Times New Roman" pitchFamily="18" charset="0"/>
              </a:rPr>
              <a:t>Заказчики процесса:</a:t>
            </a:r>
            <a:r>
              <a:rPr lang="ru-RU" sz="102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педагогические работники общеобразовательных учреждений</a:t>
            </a:r>
          </a:p>
          <a:p>
            <a:pPr eaLnBrk="1" hangingPunct="1">
              <a:lnSpc>
                <a:spcPct val="150000"/>
              </a:lnSpc>
            </a:pPr>
            <a:r>
              <a:rPr lang="ru-RU" sz="1020" b="1" dirty="0">
                <a:solidFill>
                  <a:srgbClr val="306FAE"/>
                </a:solidFill>
                <a:latin typeface="Times New Roman" pitchFamily="18" charset="0"/>
                <a:cs typeface="Times New Roman" pitchFamily="18" charset="0"/>
              </a:rPr>
              <a:t>Периметр проекта:</a:t>
            </a:r>
            <a:r>
              <a:rPr lang="ru-RU" sz="102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marL="233241" indent="-233241" eaLnBrk="1" hangingPunct="1">
              <a:lnSpc>
                <a:spcPct val="150000"/>
              </a:lnSpc>
              <a:buFontTx/>
              <a:buAutoNum type="arabicParenR"/>
            </a:pPr>
            <a:r>
              <a:rPr lang="ru-RU" sz="102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етодические объединения учителей;</a:t>
            </a:r>
          </a:p>
          <a:p>
            <a:pPr marL="233241" indent="-233241" eaLnBrk="1" hangingPunct="1">
              <a:lnSpc>
                <a:spcPct val="150000"/>
              </a:lnSpc>
              <a:buFontTx/>
              <a:buAutoNum type="arabicParenR"/>
            </a:pPr>
            <a:r>
              <a:rPr lang="ru-RU" sz="102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сихолого-педагогическая служба</a:t>
            </a:r>
          </a:p>
          <a:p>
            <a:pPr eaLnBrk="1" hangingPunct="1">
              <a:lnSpc>
                <a:spcPct val="150000"/>
              </a:lnSpc>
            </a:pPr>
            <a:r>
              <a:rPr lang="ru-RU" sz="1020" b="1" dirty="0">
                <a:solidFill>
                  <a:srgbClr val="306FAE"/>
                </a:solidFill>
                <a:latin typeface="Times New Roman" pitchFamily="18" charset="0"/>
                <a:cs typeface="Times New Roman" pitchFamily="18" charset="0"/>
              </a:rPr>
              <a:t>Руководитель проекта:</a:t>
            </a:r>
            <a:r>
              <a:rPr lang="ru-RU" sz="102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руководитель общеобразовательного учреждения</a:t>
            </a:r>
            <a:endParaRPr lang="ru-RU" sz="1020" b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eaLnBrk="1" hangingPunct="1">
              <a:lnSpc>
                <a:spcPct val="150000"/>
              </a:lnSpc>
            </a:pPr>
            <a:r>
              <a:rPr lang="ru-RU" sz="1020" b="1" dirty="0">
                <a:solidFill>
                  <a:srgbClr val="306FAE"/>
                </a:solidFill>
                <a:latin typeface="Times New Roman" pitchFamily="18" charset="0"/>
                <a:cs typeface="Times New Roman" pitchFamily="18" charset="0"/>
              </a:rPr>
              <a:t>Команда проекта: </a:t>
            </a:r>
            <a:r>
              <a:rPr lang="ru-RU" sz="102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администрация общеобразовательного  учреждения, методические объединения учителей, психолого-педагогическая служба </a:t>
            </a:r>
          </a:p>
          <a:p>
            <a:pPr eaLnBrk="1" hangingPunct="1">
              <a:lnSpc>
                <a:spcPct val="150000"/>
              </a:lnSpc>
            </a:pPr>
            <a:endParaRPr lang="ru-RU" sz="102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 Box 2"/>
          <p:cNvSpPr txBox="1">
            <a:spLocks noChangeArrowheads="1"/>
          </p:cNvSpPr>
          <p:nvPr/>
        </p:nvSpPr>
        <p:spPr bwMode="auto">
          <a:xfrm>
            <a:off x="4943597" y="1308478"/>
            <a:ext cx="4381948" cy="2439183"/>
          </a:xfrm>
          <a:prstGeom prst="rect">
            <a:avLst/>
          </a:prstGeom>
          <a:noFill/>
          <a:ln w="9360" cap="sq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93231" tIns="46796" rIns="93231" bIns="46796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lnSpc>
                <a:spcPct val="114000"/>
              </a:lnSpc>
              <a:buClrTx/>
              <a:buFontTx/>
              <a:buNone/>
            </a:pPr>
            <a:r>
              <a:rPr lang="ru-RU" sz="1020" b="1" u="sng" dirty="0">
                <a:solidFill>
                  <a:srgbClr val="306FAE"/>
                </a:solidFill>
                <a:latin typeface="Times New Roman" pitchFamily="18" charset="0"/>
                <a:cs typeface="Times New Roman" pitchFamily="18" charset="0"/>
              </a:rPr>
              <a:t>2. Обоснование выбора</a:t>
            </a:r>
          </a:p>
          <a:p>
            <a:pPr eaLnBrk="1" hangingPunct="1">
              <a:lnSpc>
                <a:spcPct val="150000"/>
              </a:lnSpc>
            </a:pPr>
            <a:r>
              <a:rPr lang="ru-RU" sz="102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лючевой риск: </a:t>
            </a:r>
          </a:p>
          <a:p>
            <a:pPr eaLnBrk="1" hangingPunct="1">
              <a:lnSpc>
                <a:spcPct val="150000"/>
              </a:lnSpc>
            </a:pPr>
            <a:r>
              <a:rPr lang="ru-RU" sz="102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лассические формы проведения фронтального опроса очень трудоемкие и </a:t>
            </a:r>
            <a:r>
              <a:rPr lang="ru-RU" sz="1020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энергозатратные</a:t>
            </a:r>
            <a:r>
              <a:rPr lang="ru-RU" sz="102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</a:t>
            </a:r>
          </a:p>
          <a:p>
            <a:pPr eaLnBrk="1" hangingPunct="1">
              <a:lnSpc>
                <a:spcPct val="150000"/>
              </a:lnSpc>
            </a:pPr>
            <a:r>
              <a:rPr lang="ru-RU" sz="102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блемы</a:t>
            </a:r>
          </a:p>
          <a:p>
            <a:pPr algn="just" eaLnBrk="1" hangingPunct="1">
              <a:lnSpc>
                <a:spcPct val="150000"/>
              </a:lnSpc>
              <a:buFont typeface="Times New Roman" pitchFamily="18" charset="0"/>
              <a:buAutoNum type="arabicPeriod"/>
            </a:pPr>
            <a:r>
              <a:rPr lang="ru-RU" sz="102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При использовании распечатанных опросов и тестов идет расход бумаги, краски;</a:t>
            </a:r>
          </a:p>
          <a:p>
            <a:pPr marL="233241" indent="-233241" algn="just" eaLnBrk="1" hangingPunct="1">
              <a:lnSpc>
                <a:spcPct val="150000"/>
              </a:lnSpc>
              <a:buFont typeface="Times New Roman" pitchFamily="18" charset="0"/>
              <a:buAutoNum type="arabicPeriod"/>
            </a:pPr>
            <a:r>
              <a:rPr lang="ru-RU" sz="102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ля выведения информации необходимо наличие принтера;</a:t>
            </a:r>
          </a:p>
          <a:p>
            <a:pPr marL="233241" indent="-233241" algn="just" eaLnBrk="1" hangingPunct="1">
              <a:lnSpc>
                <a:spcPct val="150000"/>
              </a:lnSpc>
              <a:buFont typeface="Times New Roman" pitchFamily="18" charset="0"/>
              <a:buAutoNum type="arabicPeriod"/>
            </a:pPr>
            <a:r>
              <a:rPr lang="ru-RU" sz="102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теря времени при проверке, фиксировании и анализе полученных результатов.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0" y="156635"/>
            <a:ext cx="7661677" cy="887318"/>
            <a:chOff x="-116389" y="156635"/>
            <a:chExt cx="7331090" cy="738942"/>
          </a:xfrm>
        </p:grpSpPr>
        <p:sp>
          <p:nvSpPr>
            <p:cNvPr id="2" name="Скругленный прямоугольник 1"/>
            <p:cNvSpPr/>
            <p:nvPr/>
          </p:nvSpPr>
          <p:spPr>
            <a:xfrm>
              <a:off x="-114563" y="156635"/>
              <a:ext cx="7329264" cy="64807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smtClean="0">
                <a:gradFill flip="none" rotWithShape="1">
                  <a:gsLst>
                    <a:gs pos="0">
                      <a:schemeClr val="accent1">
                        <a:lumMod val="67000"/>
                      </a:schemeClr>
                    </a:gs>
                    <a:gs pos="48000">
                      <a:schemeClr val="accent1">
                        <a:lumMod val="97000"/>
                        <a:lumOff val="3000"/>
                      </a:schemeClr>
                    </a:gs>
                    <a:gs pos="100000">
                      <a:schemeClr val="accent1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</a:endParaRPr>
            </a:p>
          </p:txBody>
        </p:sp>
        <p:sp>
          <p:nvSpPr>
            <p:cNvPr id="3" name="Скругленный прямоугольник 2"/>
            <p:cNvSpPr/>
            <p:nvPr/>
          </p:nvSpPr>
          <p:spPr>
            <a:xfrm>
              <a:off x="-116389" y="219156"/>
              <a:ext cx="7249135" cy="676421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smtClean="0">
                <a:solidFill>
                  <a:srgbClr val="08486B"/>
                </a:solidFill>
              </a:endParaRPr>
            </a:p>
          </p:txBody>
        </p:sp>
      </p:grpSp>
      <p:sp>
        <p:nvSpPr>
          <p:cNvPr id="15" name="Text Box 29"/>
          <p:cNvSpPr txBox="1">
            <a:spLocks noChangeArrowheads="1"/>
          </p:cNvSpPr>
          <p:nvPr/>
        </p:nvSpPr>
        <p:spPr bwMode="auto">
          <a:xfrm>
            <a:off x="0" y="365868"/>
            <a:ext cx="7549723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buClrTx/>
              <a:buFontTx/>
              <a:buNone/>
            </a:pP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арточка проекта</a:t>
            </a: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проведения фронтального опроса и/или тестирования с помощью использования приложения </a:t>
            </a:r>
            <a:r>
              <a:rPr lang="en-US" sz="1600" b="1" dirty="0" err="1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Plickers</a:t>
            </a: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600" b="1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462934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0" y="156635"/>
            <a:ext cx="7661677" cy="887318"/>
            <a:chOff x="-116389" y="156635"/>
            <a:chExt cx="7331090" cy="738942"/>
          </a:xfrm>
        </p:grpSpPr>
        <p:sp>
          <p:nvSpPr>
            <p:cNvPr id="2" name="Скругленный прямоугольник 1"/>
            <p:cNvSpPr/>
            <p:nvPr/>
          </p:nvSpPr>
          <p:spPr>
            <a:xfrm>
              <a:off x="-114563" y="156635"/>
              <a:ext cx="7329264" cy="64807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smtClean="0">
                <a:gradFill flip="none" rotWithShape="1">
                  <a:gsLst>
                    <a:gs pos="0">
                      <a:schemeClr val="accent1">
                        <a:lumMod val="67000"/>
                      </a:schemeClr>
                    </a:gs>
                    <a:gs pos="48000">
                      <a:schemeClr val="accent1">
                        <a:lumMod val="97000"/>
                        <a:lumOff val="3000"/>
                      </a:schemeClr>
                    </a:gs>
                    <a:gs pos="100000">
                      <a:schemeClr val="accent1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</a:endParaRPr>
            </a:p>
          </p:txBody>
        </p:sp>
        <p:sp>
          <p:nvSpPr>
            <p:cNvPr id="3" name="Скругленный прямоугольник 2"/>
            <p:cNvSpPr/>
            <p:nvPr/>
          </p:nvSpPr>
          <p:spPr>
            <a:xfrm>
              <a:off x="-116389" y="219156"/>
              <a:ext cx="7249135" cy="676421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smtClean="0">
                <a:solidFill>
                  <a:srgbClr val="08486B"/>
                </a:solidFill>
              </a:endParaRPr>
            </a:p>
          </p:txBody>
        </p:sp>
      </p:grpSp>
      <p:sp>
        <p:nvSpPr>
          <p:cNvPr id="15" name="Text Box 29"/>
          <p:cNvSpPr txBox="1">
            <a:spLocks noChangeArrowheads="1"/>
          </p:cNvSpPr>
          <p:nvPr/>
        </p:nvSpPr>
        <p:spPr bwMode="auto">
          <a:xfrm>
            <a:off x="0" y="365868"/>
            <a:ext cx="7549723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buClrTx/>
              <a:buFontTx/>
              <a:buNone/>
            </a:pPr>
            <a:r>
              <a:rPr lang="ru-RU" sz="1600" b="1" dirty="0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оманда </a:t>
            </a: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а</a:t>
            </a: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проведения фронтального опроса и/или тестирования с помощью использования приложения </a:t>
            </a:r>
            <a:r>
              <a:rPr lang="en-US" sz="1600" b="1" dirty="0" err="1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Plickers</a:t>
            </a: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600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928664" y="1334028"/>
            <a:ext cx="756084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роекта: </a:t>
            </a:r>
          </a:p>
          <a:p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кульбеда Елена Петровна, директор </a:t>
            </a:r>
          </a:p>
          <a:p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У ОО «Орловская общеобразовательная </a:t>
            </a:r>
          </a:p>
          <a:p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кола для обучающихся с ОВЗ»</a:t>
            </a:r>
            <a:endParaRPr lang="ru-RU" sz="1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Freeform 4"/>
          <p:cNvSpPr>
            <a:spLocks noEditPoints="1"/>
          </p:cNvSpPr>
          <p:nvPr/>
        </p:nvSpPr>
        <p:spPr bwMode="gray">
          <a:xfrm>
            <a:off x="208247" y="2318913"/>
            <a:ext cx="7133227" cy="4248475"/>
          </a:xfrm>
          <a:custGeom>
            <a:avLst/>
            <a:gdLst>
              <a:gd name="T0" fmla="*/ 1092 w 2820"/>
              <a:gd name="T1" fmla="*/ 50 h 2912"/>
              <a:gd name="T2" fmla="*/ 822 w 2820"/>
              <a:gd name="T3" fmla="*/ 168 h 2912"/>
              <a:gd name="T4" fmla="*/ 594 w 2820"/>
              <a:gd name="T5" fmla="*/ 300 h 2912"/>
              <a:gd name="T6" fmla="*/ 406 w 2820"/>
              <a:gd name="T7" fmla="*/ 446 h 2912"/>
              <a:gd name="T8" fmla="*/ 254 w 2820"/>
              <a:gd name="T9" fmla="*/ 604 h 2912"/>
              <a:gd name="T10" fmla="*/ 140 w 2820"/>
              <a:gd name="T11" fmla="*/ 772 h 2912"/>
              <a:gd name="T12" fmla="*/ 60 w 2820"/>
              <a:gd name="T13" fmla="*/ 944 h 2912"/>
              <a:gd name="T14" fmla="*/ 14 w 2820"/>
              <a:gd name="T15" fmla="*/ 1122 h 2912"/>
              <a:gd name="T16" fmla="*/ 0 w 2820"/>
              <a:gd name="T17" fmla="*/ 1300 h 2912"/>
              <a:gd name="T18" fmla="*/ 18 w 2820"/>
              <a:gd name="T19" fmla="*/ 1476 h 2912"/>
              <a:gd name="T20" fmla="*/ 64 w 2820"/>
              <a:gd name="T21" fmla="*/ 1650 h 2912"/>
              <a:gd name="T22" fmla="*/ 138 w 2820"/>
              <a:gd name="T23" fmla="*/ 1818 h 2912"/>
              <a:gd name="T24" fmla="*/ 238 w 2820"/>
              <a:gd name="T25" fmla="*/ 1978 h 2912"/>
              <a:gd name="T26" fmla="*/ 364 w 2820"/>
              <a:gd name="T27" fmla="*/ 2126 h 2912"/>
              <a:gd name="T28" fmla="*/ 512 w 2820"/>
              <a:gd name="T29" fmla="*/ 2262 h 2912"/>
              <a:gd name="T30" fmla="*/ 684 w 2820"/>
              <a:gd name="T31" fmla="*/ 2382 h 2912"/>
              <a:gd name="T32" fmla="*/ 874 w 2820"/>
              <a:gd name="T33" fmla="*/ 2484 h 2912"/>
              <a:gd name="T34" fmla="*/ 1086 w 2820"/>
              <a:gd name="T35" fmla="*/ 2564 h 2912"/>
              <a:gd name="T36" fmla="*/ 1314 w 2820"/>
              <a:gd name="T37" fmla="*/ 2622 h 2912"/>
              <a:gd name="T38" fmla="*/ 1558 w 2820"/>
              <a:gd name="T39" fmla="*/ 2654 h 2912"/>
              <a:gd name="T40" fmla="*/ 1818 w 2820"/>
              <a:gd name="T41" fmla="*/ 2658 h 2912"/>
              <a:gd name="T42" fmla="*/ 2090 w 2820"/>
              <a:gd name="T43" fmla="*/ 2632 h 2912"/>
              <a:gd name="T44" fmla="*/ 2374 w 2820"/>
              <a:gd name="T45" fmla="*/ 2574 h 2912"/>
              <a:gd name="T46" fmla="*/ 2544 w 2820"/>
              <a:gd name="T47" fmla="*/ 2912 h 2912"/>
              <a:gd name="T48" fmla="*/ 1868 w 2820"/>
              <a:gd name="T49" fmla="*/ 1552 h 2912"/>
              <a:gd name="T50" fmla="*/ 1956 w 2820"/>
              <a:gd name="T51" fmla="*/ 1914 h 2912"/>
              <a:gd name="T52" fmla="*/ 1788 w 2820"/>
              <a:gd name="T53" fmla="*/ 1936 h 2912"/>
              <a:gd name="T54" fmla="*/ 1616 w 2820"/>
              <a:gd name="T55" fmla="*/ 1934 h 2912"/>
              <a:gd name="T56" fmla="*/ 1442 w 2820"/>
              <a:gd name="T57" fmla="*/ 1912 h 2912"/>
              <a:gd name="T58" fmla="*/ 1272 w 2820"/>
              <a:gd name="T59" fmla="*/ 1872 h 2912"/>
              <a:gd name="T60" fmla="*/ 1108 w 2820"/>
              <a:gd name="T61" fmla="*/ 1812 h 2912"/>
              <a:gd name="T62" fmla="*/ 952 w 2820"/>
              <a:gd name="T63" fmla="*/ 1736 h 2912"/>
              <a:gd name="T64" fmla="*/ 810 w 2820"/>
              <a:gd name="T65" fmla="*/ 1646 h 2912"/>
              <a:gd name="T66" fmla="*/ 684 w 2820"/>
              <a:gd name="T67" fmla="*/ 1542 h 2912"/>
              <a:gd name="T68" fmla="*/ 578 w 2820"/>
              <a:gd name="T69" fmla="*/ 1428 h 2912"/>
              <a:gd name="T70" fmla="*/ 494 w 2820"/>
              <a:gd name="T71" fmla="*/ 1304 h 2912"/>
              <a:gd name="T72" fmla="*/ 438 w 2820"/>
              <a:gd name="T73" fmla="*/ 1170 h 2912"/>
              <a:gd name="T74" fmla="*/ 410 w 2820"/>
              <a:gd name="T75" fmla="*/ 1032 h 2912"/>
              <a:gd name="T76" fmla="*/ 416 w 2820"/>
              <a:gd name="T77" fmla="*/ 888 h 2912"/>
              <a:gd name="T78" fmla="*/ 460 w 2820"/>
              <a:gd name="T79" fmla="*/ 742 h 2912"/>
              <a:gd name="T80" fmla="*/ 544 w 2820"/>
              <a:gd name="T81" fmla="*/ 592 h 2912"/>
              <a:gd name="T82" fmla="*/ 670 w 2820"/>
              <a:gd name="T83" fmla="*/ 444 h 2912"/>
              <a:gd name="T84" fmla="*/ 844 w 2820"/>
              <a:gd name="T85" fmla="*/ 298 h 2912"/>
              <a:gd name="T86" fmla="*/ 1070 w 2820"/>
              <a:gd name="T87" fmla="*/ 154 h 2912"/>
              <a:gd name="T88" fmla="*/ 1348 w 2820"/>
              <a:gd name="T89" fmla="*/ 16 h 2912"/>
              <a:gd name="T90" fmla="*/ 1244 w 2820"/>
              <a:gd name="T91" fmla="*/ 0 h 2912"/>
              <a:gd name="T92" fmla="*/ 2820 w 2820"/>
              <a:gd name="T93" fmla="*/ 1934 h 2912"/>
              <a:gd name="T94" fmla="*/ 2820 w 2820"/>
              <a:gd name="T95" fmla="*/ 1934 h 29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820" h="2912">
                <a:moveTo>
                  <a:pt x="1244" y="0"/>
                </a:moveTo>
                <a:lnTo>
                  <a:pt x="1092" y="50"/>
                </a:lnTo>
                <a:lnTo>
                  <a:pt x="952" y="106"/>
                </a:lnTo>
                <a:lnTo>
                  <a:pt x="822" y="168"/>
                </a:lnTo>
                <a:lnTo>
                  <a:pt x="704" y="232"/>
                </a:lnTo>
                <a:lnTo>
                  <a:pt x="594" y="300"/>
                </a:lnTo>
                <a:lnTo>
                  <a:pt x="494" y="372"/>
                </a:lnTo>
                <a:lnTo>
                  <a:pt x="406" y="446"/>
                </a:lnTo>
                <a:lnTo>
                  <a:pt x="324" y="524"/>
                </a:lnTo>
                <a:lnTo>
                  <a:pt x="254" y="604"/>
                </a:lnTo>
                <a:lnTo>
                  <a:pt x="192" y="686"/>
                </a:lnTo>
                <a:lnTo>
                  <a:pt x="140" y="772"/>
                </a:lnTo>
                <a:lnTo>
                  <a:pt x="96" y="856"/>
                </a:lnTo>
                <a:lnTo>
                  <a:pt x="60" y="944"/>
                </a:lnTo>
                <a:lnTo>
                  <a:pt x="32" y="1032"/>
                </a:lnTo>
                <a:lnTo>
                  <a:pt x="14" y="1122"/>
                </a:lnTo>
                <a:lnTo>
                  <a:pt x="2" y="1210"/>
                </a:lnTo>
                <a:lnTo>
                  <a:pt x="0" y="1300"/>
                </a:lnTo>
                <a:lnTo>
                  <a:pt x="4" y="1388"/>
                </a:lnTo>
                <a:lnTo>
                  <a:pt x="18" y="1476"/>
                </a:lnTo>
                <a:lnTo>
                  <a:pt x="36" y="1564"/>
                </a:lnTo>
                <a:lnTo>
                  <a:pt x="64" y="1650"/>
                </a:lnTo>
                <a:lnTo>
                  <a:pt x="96" y="1736"/>
                </a:lnTo>
                <a:lnTo>
                  <a:pt x="138" y="1818"/>
                </a:lnTo>
                <a:lnTo>
                  <a:pt x="184" y="1900"/>
                </a:lnTo>
                <a:lnTo>
                  <a:pt x="238" y="1978"/>
                </a:lnTo>
                <a:lnTo>
                  <a:pt x="298" y="2054"/>
                </a:lnTo>
                <a:lnTo>
                  <a:pt x="364" y="2126"/>
                </a:lnTo>
                <a:lnTo>
                  <a:pt x="434" y="2196"/>
                </a:lnTo>
                <a:lnTo>
                  <a:pt x="512" y="2262"/>
                </a:lnTo>
                <a:lnTo>
                  <a:pt x="596" y="2324"/>
                </a:lnTo>
                <a:lnTo>
                  <a:pt x="684" y="2382"/>
                </a:lnTo>
                <a:lnTo>
                  <a:pt x="776" y="2436"/>
                </a:lnTo>
                <a:lnTo>
                  <a:pt x="874" y="2484"/>
                </a:lnTo>
                <a:lnTo>
                  <a:pt x="978" y="2526"/>
                </a:lnTo>
                <a:lnTo>
                  <a:pt x="1086" y="2564"/>
                </a:lnTo>
                <a:lnTo>
                  <a:pt x="1198" y="2596"/>
                </a:lnTo>
                <a:lnTo>
                  <a:pt x="1314" y="2622"/>
                </a:lnTo>
                <a:lnTo>
                  <a:pt x="1434" y="2642"/>
                </a:lnTo>
                <a:lnTo>
                  <a:pt x="1558" y="2654"/>
                </a:lnTo>
                <a:lnTo>
                  <a:pt x="1686" y="2660"/>
                </a:lnTo>
                <a:lnTo>
                  <a:pt x="1818" y="2658"/>
                </a:lnTo>
                <a:lnTo>
                  <a:pt x="1952" y="2650"/>
                </a:lnTo>
                <a:lnTo>
                  <a:pt x="2090" y="2632"/>
                </a:lnTo>
                <a:lnTo>
                  <a:pt x="2230" y="2608"/>
                </a:lnTo>
                <a:lnTo>
                  <a:pt x="2374" y="2574"/>
                </a:lnTo>
                <a:lnTo>
                  <a:pt x="2542" y="2912"/>
                </a:lnTo>
                <a:lnTo>
                  <a:pt x="2544" y="2912"/>
                </a:lnTo>
                <a:lnTo>
                  <a:pt x="2820" y="1934"/>
                </a:lnTo>
                <a:lnTo>
                  <a:pt x="1868" y="1552"/>
                </a:lnTo>
                <a:lnTo>
                  <a:pt x="2036" y="1894"/>
                </a:lnTo>
                <a:lnTo>
                  <a:pt x="1956" y="1914"/>
                </a:lnTo>
                <a:lnTo>
                  <a:pt x="1872" y="1928"/>
                </a:lnTo>
                <a:lnTo>
                  <a:pt x="1788" y="1936"/>
                </a:lnTo>
                <a:lnTo>
                  <a:pt x="1702" y="1938"/>
                </a:lnTo>
                <a:lnTo>
                  <a:pt x="1616" y="1934"/>
                </a:lnTo>
                <a:lnTo>
                  <a:pt x="1528" y="1926"/>
                </a:lnTo>
                <a:lnTo>
                  <a:pt x="1442" y="1912"/>
                </a:lnTo>
                <a:lnTo>
                  <a:pt x="1356" y="1894"/>
                </a:lnTo>
                <a:lnTo>
                  <a:pt x="1272" y="1872"/>
                </a:lnTo>
                <a:lnTo>
                  <a:pt x="1188" y="1844"/>
                </a:lnTo>
                <a:lnTo>
                  <a:pt x="1108" y="1812"/>
                </a:lnTo>
                <a:lnTo>
                  <a:pt x="1028" y="1776"/>
                </a:lnTo>
                <a:lnTo>
                  <a:pt x="952" y="1736"/>
                </a:lnTo>
                <a:lnTo>
                  <a:pt x="880" y="1692"/>
                </a:lnTo>
                <a:lnTo>
                  <a:pt x="810" y="1646"/>
                </a:lnTo>
                <a:lnTo>
                  <a:pt x="744" y="1596"/>
                </a:lnTo>
                <a:lnTo>
                  <a:pt x="684" y="1542"/>
                </a:lnTo>
                <a:lnTo>
                  <a:pt x="628" y="1486"/>
                </a:lnTo>
                <a:lnTo>
                  <a:pt x="578" y="1428"/>
                </a:lnTo>
                <a:lnTo>
                  <a:pt x="532" y="1366"/>
                </a:lnTo>
                <a:lnTo>
                  <a:pt x="494" y="1304"/>
                </a:lnTo>
                <a:lnTo>
                  <a:pt x="462" y="1238"/>
                </a:lnTo>
                <a:lnTo>
                  <a:pt x="438" y="1170"/>
                </a:lnTo>
                <a:lnTo>
                  <a:pt x="420" y="1102"/>
                </a:lnTo>
                <a:lnTo>
                  <a:pt x="410" y="1032"/>
                </a:lnTo>
                <a:lnTo>
                  <a:pt x="410" y="960"/>
                </a:lnTo>
                <a:lnTo>
                  <a:pt x="416" y="888"/>
                </a:lnTo>
                <a:lnTo>
                  <a:pt x="434" y="816"/>
                </a:lnTo>
                <a:lnTo>
                  <a:pt x="460" y="742"/>
                </a:lnTo>
                <a:lnTo>
                  <a:pt x="496" y="668"/>
                </a:lnTo>
                <a:lnTo>
                  <a:pt x="544" y="592"/>
                </a:lnTo>
                <a:lnTo>
                  <a:pt x="602" y="518"/>
                </a:lnTo>
                <a:lnTo>
                  <a:pt x="670" y="444"/>
                </a:lnTo>
                <a:lnTo>
                  <a:pt x="752" y="370"/>
                </a:lnTo>
                <a:lnTo>
                  <a:pt x="844" y="298"/>
                </a:lnTo>
                <a:lnTo>
                  <a:pt x="950" y="226"/>
                </a:lnTo>
                <a:lnTo>
                  <a:pt x="1070" y="154"/>
                </a:lnTo>
                <a:lnTo>
                  <a:pt x="1202" y="84"/>
                </a:lnTo>
                <a:lnTo>
                  <a:pt x="1348" y="16"/>
                </a:lnTo>
                <a:lnTo>
                  <a:pt x="1244" y="0"/>
                </a:lnTo>
                <a:lnTo>
                  <a:pt x="1244" y="0"/>
                </a:lnTo>
                <a:lnTo>
                  <a:pt x="1244" y="0"/>
                </a:lnTo>
                <a:close/>
                <a:moveTo>
                  <a:pt x="2820" y="1934"/>
                </a:moveTo>
                <a:lnTo>
                  <a:pt x="2820" y="1934"/>
                </a:lnTo>
                <a:lnTo>
                  <a:pt x="2820" y="1934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outerShdw dist="206741" dir="8249373" algn="ctr" rotWithShape="0">
              <a:srgbClr val="C1D1D3">
                <a:alpha val="50000"/>
              </a:srgbClr>
            </a:outerShdw>
          </a:effectLst>
        </p:spPr>
        <p:txBody>
          <a:bodyPr/>
          <a:lstStyle/>
          <a:p>
            <a:endParaRPr lang="ru-RU"/>
          </a:p>
        </p:txBody>
      </p:sp>
      <p:pic>
        <p:nvPicPr>
          <p:cNvPr id="51202" name="Picture 2" descr="http://xn--8-0tb4a.xn--p1ai/images/photos/Adm/director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021" y="1320705"/>
            <a:ext cx="1244067" cy="1662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1275054" y="3134339"/>
            <a:ext cx="3668473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чики проекта:</a:t>
            </a:r>
          </a:p>
          <a:p>
            <a:pPr marL="285750" indent="-285750">
              <a:buFontTx/>
              <a:buChar char="-"/>
            </a:pPr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дминистрация школы;</a:t>
            </a:r>
          </a:p>
          <a:p>
            <a:pPr marL="285750" indent="-285750">
              <a:buFontTx/>
              <a:buChar char="-"/>
            </a:pPr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ководители методических объединений.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1204" name="Picture 4" descr="rpunber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834" y="4088447"/>
            <a:ext cx="956220" cy="1274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06" name="Picture 6" descr="d0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8624" y="4088447"/>
            <a:ext cx="958616" cy="1274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20" r="5761"/>
          <a:stretch/>
        </p:blipFill>
        <p:spPr>
          <a:xfrm>
            <a:off x="2820811" y="4088447"/>
            <a:ext cx="1052070" cy="127496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29897" y="5427834"/>
            <a:ext cx="122931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юнберг И.В., </a:t>
            </a:r>
          </a:p>
          <a:p>
            <a:pPr algn="ctr"/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меститель </a:t>
            </a:r>
          </a:p>
          <a:p>
            <a:pPr algn="ctr"/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а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434013" y="5427834"/>
            <a:ext cx="12278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сенкова М.Г, </a:t>
            </a:r>
          </a:p>
          <a:p>
            <a:pPr algn="ctr"/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меститель </a:t>
            </a:r>
          </a:p>
          <a:p>
            <a:pPr algn="ctr"/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ректора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659255" y="5427833"/>
            <a:ext cx="13751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льникова Е.М., </a:t>
            </a:r>
          </a:p>
          <a:p>
            <a:pPr algn="ctr"/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тодист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617824" y="3125144"/>
            <a:ext cx="3668473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чая группа проекта:</a:t>
            </a:r>
          </a:p>
          <a:p>
            <a:pPr marL="285750" indent="-285750">
              <a:buFontTx/>
              <a:buChar char="-"/>
            </a:pPr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аснова М.О., учитель истории;</a:t>
            </a:r>
          </a:p>
          <a:p>
            <a:pPr marL="285750" indent="-285750">
              <a:buFontTx/>
              <a:buChar char="-"/>
            </a:pPr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сянникова О.Н., учитель географии,</a:t>
            </a:r>
          </a:p>
          <a:p>
            <a:pPr marL="285750" indent="-285750">
              <a:buFontTx/>
              <a:buChar char="-"/>
            </a:pPr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лисеева Г.В., учитель начальных классов;</a:t>
            </a:r>
          </a:p>
          <a:p>
            <a:pPr marL="285750" indent="-285750">
              <a:buFontTx/>
              <a:buChar char="-"/>
            </a:pPr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всянникова Л.Г., учитель русского языка;</a:t>
            </a:r>
          </a:p>
          <a:p>
            <a:pPr marL="285750" indent="-285750">
              <a:buFontTx/>
              <a:buChar char="-"/>
            </a:pPr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нуковская К.А., учитель русского языка;</a:t>
            </a:r>
          </a:p>
          <a:p>
            <a:pPr marL="285750" indent="-285750">
              <a:buFontTx/>
              <a:buChar char="-"/>
            </a:pPr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еонова О.Н., учитель информатики;</a:t>
            </a:r>
          </a:p>
          <a:p>
            <a:pPr marL="285750" indent="-285750">
              <a:buFontTx/>
              <a:buChar char="-"/>
            </a:pPr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алкина В.И., дефектолог.</a:t>
            </a:r>
          </a:p>
          <a:p>
            <a:pPr marL="285750" indent="-285750">
              <a:buFontTx/>
              <a:buChar char="-"/>
            </a:pPr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недова С.Н., учитель технологии.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6033120" y="1196751"/>
            <a:ext cx="3600400" cy="1786877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rgbClr val="0848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У ОО «Орловская общеобразовательная школа для обучающихся с ограниченными возможностями здоровья»</a:t>
            </a:r>
          </a:p>
          <a:p>
            <a:pPr algn="ctr"/>
            <a:r>
              <a:rPr lang="ru-RU" sz="1200" dirty="0" smtClean="0">
                <a:solidFill>
                  <a:srgbClr val="0848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дрес: 302026, г. Орёл, пер. Соляной, д. 2</a:t>
            </a:r>
          </a:p>
          <a:p>
            <a:pPr algn="ctr"/>
            <a:r>
              <a:rPr lang="ru-RU" sz="1200" dirty="0" smtClean="0">
                <a:solidFill>
                  <a:srgbClr val="0848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лефон:(4862) 59 03 12</a:t>
            </a:r>
          </a:p>
          <a:p>
            <a:pPr algn="ctr"/>
            <a:r>
              <a:rPr lang="ru-RU" sz="1200" dirty="0" smtClean="0">
                <a:solidFill>
                  <a:srgbClr val="0848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дрес электронной почты: </a:t>
            </a:r>
            <a:r>
              <a:rPr lang="en-US" sz="1200" dirty="0" smtClean="0">
                <a:solidFill>
                  <a:srgbClr val="08486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ligo14@yandex.ru</a:t>
            </a:r>
            <a:endParaRPr lang="ru-RU" sz="1200" dirty="0" smtClean="0">
              <a:solidFill>
                <a:srgbClr val="08486B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100" dirty="0" smtClean="0">
              <a:solidFill>
                <a:srgbClr val="08486B"/>
              </a:solidFill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5088" y="1632666"/>
            <a:ext cx="715122" cy="715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7349601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0" y="156635"/>
            <a:ext cx="7661677" cy="887318"/>
            <a:chOff x="-116389" y="156635"/>
            <a:chExt cx="7331090" cy="738942"/>
          </a:xfrm>
        </p:grpSpPr>
        <p:sp>
          <p:nvSpPr>
            <p:cNvPr id="2" name="Скругленный прямоугольник 1"/>
            <p:cNvSpPr/>
            <p:nvPr/>
          </p:nvSpPr>
          <p:spPr>
            <a:xfrm>
              <a:off x="-114563" y="156635"/>
              <a:ext cx="7329264" cy="64807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smtClean="0">
                <a:gradFill flip="none" rotWithShape="1">
                  <a:gsLst>
                    <a:gs pos="0">
                      <a:schemeClr val="accent1">
                        <a:lumMod val="67000"/>
                      </a:schemeClr>
                    </a:gs>
                    <a:gs pos="48000">
                      <a:schemeClr val="accent1">
                        <a:lumMod val="97000"/>
                        <a:lumOff val="3000"/>
                      </a:schemeClr>
                    </a:gs>
                    <a:gs pos="100000">
                      <a:schemeClr val="accent1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</a:endParaRPr>
            </a:p>
          </p:txBody>
        </p:sp>
        <p:sp>
          <p:nvSpPr>
            <p:cNvPr id="3" name="Скругленный прямоугольник 2"/>
            <p:cNvSpPr/>
            <p:nvPr/>
          </p:nvSpPr>
          <p:spPr>
            <a:xfrm>
              <a:off x="-116389" y="219156"/>
              <a:ext cx="7249135" cy="676421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smtClean="0">
                <a:solidFill>
                  <a:srgbClr val="08486B"/>
                </a:solidFill>
              </a:endParaRPr>
            </a:p>
          </p:txBody>
        </p:sp>
      </p:grpSp>
      <p:sp>
        <p:nvSpPr>
          <p:cNvPr id="15" name="Text Box 29"/>
          <p:cNvSpPr txBox="1">
            <a:spLocks noChangeArrowheads="1"/>
          </p:cNvSpPr>
          <p:nvPr/>
        </p:nvSpPr>
        <p:spPr bwMode="auto">
          <a:xfrm>
            <a:off x="0" y="242758"/>
            <a:ext cx="7549723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buClrTx/>
              <a:buFontTx/>
              <a:buNone/>
            </a:pPr>
            <a:r>
              <a:rPr lang="ru-RU" sz="1600" b="1" dirty="0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тратегии достижения цели проекта «Оптимизация </a:t>
            </a: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оцесса проведения фронтального опроса и/или тестирования с помощью использования приложения </a:t>
            </a:r>
            <a:r>
              <a:rPr lang="en-US" sz="1600" b="1" dirty="0" err="1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Plickers</a:t>
            </a: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600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8" name="AutoShape 3"/>
          <p:cNvSpPr>
            <a:spLocks noChangeArrowheads="1"/>
          </p:cNvSpPr>
          <p:nvPr/>
        </p:nvSpPr>
        <p:spPr bwMode="ltGray">
          <a:xfrm>
            <a:off x="381000" y="1600200"/>
            <a:ext cx="5880100" cy="4495800"/>
          </a:xfrm>
          <a:prstGeom prst="rightArrow">
            <a:avLst>
              <a:gd name="adj1" fmla="val 79306"/>
              <a:gd name="adj2" fmla="val 32395"/>
            </a:avLst>
          </a:prstGeom>
          <a:gradFill rotWithShape="1">
            <a:gsLst>
              <a:gs pos="0">
                <a:schemeClr val="accent1">
                  <a:gamma/>
                  <a:tint val="0"/>
                  <a:invGamma/>
                </a:schemeClr>
              </a:gs>
              <a:gs pos="100000">
                <a:schemeClr val="accent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10" name="AutoShape 4"/>
          <p:cNvSpPr>
            <a:spLocks noChangeArrowheads="1"/>
          </p:cNvSpPr>
          <p:nvPr/>
        </p:nvSpPr>
        <p:spPr bwMode="blackWhite">
          <a:xfrm>
            <a:off x="762000" y="2209800"/>
            <a:ext cx="4038600" cy="990600"/>
          </a:xfrm>
          <a:prstGeom prst="roundRect">
            <a:avLst>
              <a:gd name="adj" fmla="val 9106"/>
            </a:avLst>
          </a:prstGeom>
          <a:gradFill rotWithShape="1">
            <a:gsLst>
              <a:gs pos="0">
                <a:schemeClr val="accent2"/>
              </a:gs>
              <a:gs pos="100000">
                <a:schemeClr val="accent2">
                  <a:gamma/>
                  <a:tint val="69804"/>
                  <a:invGamma/>
                </a:schemeClr>
              </a:gs>
            </a:gsLst>
            <a:lin ang="5400000" scaled="1"/>
          </a:gradFill>
          <a:ln w="25400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US" altLang="ru-RU" b="1">
                <a:solidFill>
                  <a:schemeClr val="bg1"/>
                </a:solidFill>
              </a:rPr>
              <a:t>Add Your Text</a:t>
            </a:r>
          </a:p>
        </p:txBody>
      </p:sp>
      <p:sp>
        <p:nvSpPr>
          <p:cNvPr id="11" name="AutoShape 5"/>
          <p:cNvSpPr>
            <a:spLocks noChangeArrowheads="1"/>
          </p:cNvSpPr>
          <p:nvPr/>
        </p:nvSpPr>
        <p:spPr bwMode="blackWhite">
          <a:xfrm>
            <a:off x="762000" y="3352800"/>
            <a:ext cx="4038600" cy="990600"/>
          </a:xfrm>
          <a:prstGeom prst="roundRect">
            <a:avLst>
              <a:gd name="adj" fmla="val 9106"/>
            </a:avLst>
          </a:prstGeom>
          <a:gradFill rotWithShape="1">
            <a:gsLst>
              <a:gs pos="0">
                <a:srgbClr val="699D5F"/>
              </a:gs>
              <a:gs pos="100000">
                <a:srgbClr val="699D5F">
                  <a:gamma/>
                  <a:tint val="69804"/>
                  <a:invGamma/>
                </a:srgbClr>
              </a:gs>
            </a:gsLst>
            <a:lin ang="5400000" scaled="1"/>
          </a:gradFill>
          <a:ln w="25400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US" altLang="ru-RU" b="1">
                <a:solidFill>
                  <a:schemeClr val="bg1"/>
                </a:solidFill>
              </a:rPr>
              <a:t>Add Your Text</a:t>
            </a:r>
          </a:p>
        </p:txBody>
      </p:sp>
      <p:sp>
        <p:nvSpPr>
          <p:cNvPr id="12" name="AutoShape 6"/>
          <p:cNvSpPr>
            <a:spLocks noChangeArrowheads="1"/>
          </p:cNvSpPr>
          <p:nvPr/>
        </p:nvSpPr>
        <p:spPr bwMode="blackWhite">
          <a:xfrm>
            <a:off x="762000" y="4495800"/>
            <a:ext cx="4038600" cy="990600"/>
          </a:xfrm>
          <a:prstGeom prst="roundRect">
            <a:avLst>
              <a:gd name="adj" fmla="val 9106"/>
            </a:avLst>
          </a:prstGeom>
          <a:gradFill rotWithShape="1">
            <a:gsLst>
              <a:gs pos="0">
                <a:schemeClr val="hlink"/>
              </a:gs>
              <a:gs pos="100000">
                <a:schemeClr val="hlink">
                  <a:gamma/>
                  <a:tint val="69804"/>
                  <a:invGamma/>
                </a:schemeClr>
              </a:gs>
            </a:gsLst>
            <a:lin ang="5400000" scaled="1"/>
          </a:gradFill>
          <a:ln w="25400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en-US" altLang="ru-RU" b="1">
                <a:solidFill>
                  <a:schemeClr val="bg1"/>
                </a:solidFill>
              </a:rPr>
              <a:t>Add Your Text</a:t>
            </a:r>
          </a:p>
        </p:txBody>
      </p:sp>
      <p:sp>
        <p:nvSpPr>
          <p:cNvPr id="13" name="AutoShape 7"/>
          <p:cNvSpPr>
            <a:spLocks noChangeArrowheads="1"/>
          </p:cNvSpPr>
          <p:nvPr/>
        </p:nvSpPr>
        <p:spPr bwMode="auto">
          <a:xfrm>
            <a:off x="6404377" y="3026296"/>
            <a:ext cx="2514600" cy="1295400"/>
          </a:xfrm>
          <a:prstGeom prst="roundRect">
            <a:avLst>
              <a:gd name="adj" fmla="val 9106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ACDD4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/>
            <a:r>
              <a:rPr lang="ru-RU" altLang="ru-RU" sz="24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Цель: </a:t>
            </a:r>
            <a:r>
              <a:rPr lang="ru-RU" altLang="ru-RU" sz="1800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altLang="ru-RU" sz="18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тимизация процесса проведения фронтального опроса и/или тестирования</a:t>
            </a:r>
            <a:endParaRPr lang="en-US" altLang="ru-RU" sz="1800" dirty="0">
              <a:solidFill>
                <a:srgbClr val="00206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AutoShape 3"/>
          <p:cNvSpPr>
            <a:spLocks noChangeArrowheads="1"/>
          </p:cNvSpPr>
          <p:nvPr/>
        </p:nvSpPr>
        <p:spPr bwMode="ltGray">
          <a:xfrm>
            <a:off x="446584" y="1613520"/>
            <a:ext cx="5880100" cy="4495800"/>
          </a:xfrm>
          <a:prstGeom prst="rightArrow">
            <a:avLst>
              <a:gd name="adj1" fmla="val 79306"/>
              <a:gd name="adj2" fmla="val 32395"/>
            </a:avLst>
          </a:prstGeom>
          <a:gradFill rotWithShape="1">
            <a:gsLst>
              <a:gs pos="0">
                <a:schemeClr val="accent1">
                  <a:gamma/>
                  <a:tint val="0"/>
                  <a:invGamma/>
                </a:schemeClr>
              </a:gs>
              <a:gs pos="100000">
                <a:schemeClr val="accent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/>
          </a:p>
        </p:txBody>
      </p:sp>
      <p:sp>
        <p:nvSpPr>
          <p:cNvPr id="16" name="AutoShape 4"/>
          <p:cNvSpPr>
            <a:spLocks noChangeArrowheads="1"/>
          </p:cNvSpPr>
          <p:nvPr/>
        </p:nvSpPr>
        <p:spPr bwMode="blackWhite">
          <a:xfrm>
            <a:off x="827584" y="2223120"/>
            <a:ext cx="4038600" cy="990600"/>
          </a:xfrm>
          <a:prstGeom prst="roundRect">
            <a:avLst>
              <a:gd name="adj" fmla="val 9106"/>
            </a:avLst>
          </a:prstGeom>
          <a:gradFill rotWithShape="1">
            <a:gsLst>
              <a:gs pos="0">
                <a:schemeClr val="accent2"/>
              </a:gs>
              <a:gs pos="100000">
                <a:schemeClr val="accent2">
                  <a:gamma/>
                  <a:tint val="69804"/>
                  <a:invGamma/>
                </a:schemeClr>
              </a:gs>
            </a:gsLst>
            <a:lin ang="5400000" scaled="1"/>
          </a:gradFill>
          <a:ln w="25400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ru-RU" altLang="ru-RU" sz="16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ние современных </a:t>
            </a:r>
          </a:p>
          <a:p>
            <a:pPr algn="ctr" eaLnBrk="0" hangingPunct="0"/>
            <a:r>
              <a:rPr lang="ru-RU" altLang="ru-RU" sz="16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онных технологий</a:t>
            </a:r>
            <a:endParaRPr lang="en-US" altLang="ru-RU" sz="16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blackWhite">
          <a:xfrm>
            <a:off x="827584" y="3366120"/>
            <a:ext cx="4038600" cy="990600"/>
          </a:xfrm>
          <a:prstGeom prst="roundRect">
            <a:avLst>
              <a:gd name="adj" fmla="val 9106"/>
            </a:avLst>
          </a:prstGeom>
          <a:gradFill rotWithShape="1">
            <a:gsLst>
              <a:gs pos="0">
                <a:srgbClr val="699D5F"/>
              </a:gs>
              <a:gs pos="100000">
                <a:srgbClr val="699D5F">
                  <a:gamma/>
                  <a:tint val="69804"/>
                  <a:invGamma/>
                </a:srgbClr>
              </a:gs>
            </a:gsLst>
            <a:lin ang="5400000" scaled="1"/>
          </a:gradFill>
          <a:ln w="25400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ru-RU" altLang="ru-RU" sz="16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е профессиональной </a:t>
            </a:r>
          </a:p>
          <a:p>
            <a:pPr algn="ctr" eaLnBrk="0" hangingPunct="0"/>
            <a:r>
              <a:rPr lang="ru-RU" altLang="ru-RU" sz="16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петентности педагогических </a:t>
            </a:r>
          </a:p>
          <a:p>
            <a:pPr algn="ctr" eaLnBrk="0" hangingPunct="0"/>
            <a:r>
              <a:rPr lang="ru-RU" altLang="ru-RU" sz="16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тников</a:t>
            </a:r>
            <a:endParaRPr lang="en-US" altLang="ru-RU" sz="16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AutoShape 6"/>
          <p:cNvSpPr>
            <a:spLocks noChangeArrowheads="1"/>
          </p:cNvSpPr>
          <p:nvPr/>
        </p:nvSpPr>
        <p:spPr bwMode="blackWhite">
          <a:xfrm>
            <a:off x="827584" y="4509120"/>
            <a:ext cx="4038600" cy="990600"/>
          </a:xfrm>
          <a:prstGeom prst="roundRect">
            <a:avLst>
              <a:gd name="adj" fmla="val 9106"/>
            </a:avLst>
          </a:prstGeom>
          <a:gradFill rotWithShape="1">
            <a:gsLst>
              <a:gs pos="0">
                <a:schemeClr val="hlink"/>
              </a:gs>
              <a:gs pos="100000">
                <a:schemeClr val="hlink">
                  <a:gamma/>
                  <a:tint val="69804"/>
                  <a:invGamma/>
                </a:schemeClr>
              </a:gs>
            </a:gsLst>
            <a:lin ang="5400000" scaled="1"/>
          </a:gradFill>
          <a:ln w="25400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r>
              <a:rPr lang="ru-RU" altLang="ru-RU" sz="16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ключевых </a:t>
            </a:r>
          </a:p>
          <a:p>
            <a:pPr algn="ctr" eaLnBrk="0" hangingPunct="0"/>
            <a:r>
              <a:rPr lang="ru-RU" altLang="ru-RU" sz="16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петенций обучающихся</a:t>
            </a:r>
            <a:endParaRPr lang="en-US" altLang="ru-RU" sz="16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365750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0" y="156635"/>
            <a:ext cx="7661677" cy="887318"/>
            <a:chOff x="-116389" y="156635"/>
            <a:chExt cx="7331090" cy="738942"/>
          </a:xfrm>
        </p:grpSpPr>
        <p:sp>
          <p:nvSpPr>
            <p:cNvPr id="2" name="Скругленный прямоугольник 1"/>
            <p:cNvSpPr/>
            <p:nvPr/>
          </p:nvSpPr>
          <p:spPr>
            <a:xfrm>
              <a:off x="-114563" y="156635"/>
              <a:ext cx="7329264" cy="64807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smtClean="0">
                <a:gradFill flip="none" rotWithShape="1">
                  <a:gsLst>
                    <a:gs pos="0">
                      <a:schemeClr val="accent1">
                        <a:lumMod val="67000"/>
                      </a:schemeClr>
                    </a:gs>
                    <a:gs pos="48000">
                      <a:schemeClr val="accent1">
                        <a:lumMod val="97000"/>
                        <a:lumOff val="3000"/>
                      </a:schemeClr>
                    </a:gs>
                    <a:gs pos="100000">
                      <a:schemeClr val="accent1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</a:endParaRPr>
            </a:p>
          </p:txBody>
        </p:sp>
        <p:sp>
          <p:nvSpPr>
            <p:cNvPr id="3" name="Скругленный прямоугольник 2"/>
            <p:cNvSpPr/>
            <p:nvPr/>
          </p:nvSpPr>
          <p:spPr>
            <a:xfrm>
              <a:off x="-116389" y="219156"/>
              <a:ext cx="7249135" cy="676421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smtClean="0">
                <a:solidFill>
                  <a:srgbClr val="08486B"/>
                </a:solidFill>
              </a:endParaRPr>
            </a:p>
          </p:txBody>
        </p:sp>
      </p:grpSp>
      <p:sp>
        <p:nvSpPr>
          <p:cNvPr id="15" name="Text Box 29"/>
          <p:cNvSpPr txBox="1">
            <a:spLocks noChangeArrowheads="1"/>
          </p:cNvSpPr>
          <p:nvPr/>
        </p:nvSpPr>
        <p:spPr bwMode="auto">
          <a:xfrm>
            <a:off x="0" y="365868"/>
            <a:ext cx="7549723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buClrTx/>
              <a:buFontTx/>
              <a:buNone/>
            </a:pPr>
            <a:r>
              <a:rPr lang="ru-RU" sz="1600" b="1" dirty="0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е проектом</a:t>
            </a:r>
            <a:r>
              <a:rPr lang="ru-RU" sz="1600" b="1" dirty="0" smtClean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проведения фронтального опроса и/или тестирования с помощью использования приложения </a:t>
            </a:r>
            <a:r>
              <a:rPr lang="en-US" sz="1600" b="1" dirty="0" err="1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Plickers</a:t>
            </a: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600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20552" y="1178111"/>
            <a:ext cx="8496944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е проектом осуществляется во время заседаний рабочих групп.</a:t>
            </a:r>
          </a:p>
          <a:p>
            <a:r>
              <a:rPr lang="ru-RU" sz="16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Задачи, которые решает рабочая группа:</a:t>
            </a:r>
          </a:p>
          <a:p>
            <a:pPr marL="285750" indent="-285750">
              <a:buFontTx/>
              <a:buChar char="-"/>
            </a:pPr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роение дорожной карты проекта для эффективной реализации;</a:t>
            </a:r>
          </a:p>
          <a:p>
            <a:pPr marL="285750" indent="-285750">
              <a:buFontTx/>
              <a:buChar char="-"/>
            </a:pPr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териально-техническое обеспечение процесса;</a:t>
            </a:r>
          </a:p>
          <a:p>
            <a:pPr marL="285750" indent="-285750">
              <a:buFontTx/>
              <a:buChar char="-"/>
            </a:pPr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стематический анализ работы команды по реализации проекта;</a:t>
            </a:r>
          </a:p>
          <a:p>
            <a:pPr marL="285750" indent="-285750">
              <a:buFontTx/>
              <a:buChar char="-"/>
            </a:pPr>
            <a:r>
              <a:rPr lang="ru-RU" sz="14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воевременное выявление проблем и их устранение.</a:t>
            </a:r>
          </a:p>
          <a:p>
            <a:pPr marL="285750" indent="-285750">
              <a:buFontTx/>
              <a:buChar char="-"/>
            </a:pPr>
            <a:endParaRPr lang="ru-RU" sz="1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61"/>
          <a:stretch/>
        </p:blipFill>
        <p:spPr>
          <a:xfrm>
            <a:off x="826767" y="2809327"/>
            <a:ext cx="4478235" cy="2516938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080897" y="5517232"/>
            <a:ext cx="422410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иражирование результатов осуществляется </a:t>
            </a:r>
          </a:p>
          <a:p>
            <a:pPr algn="ctr"/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редством сайта школы и школьной газеты.</a:t>
            </a:r>
            <a:endParaRPr lang="ru-RU" sz="16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2548" y="2827082"/>
            <a:ext cx="3351332" cy="2513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41929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6434867"/>
              </p:ext>
            </p:extLst>
          </p:nvPr>
        </p:nvGraphicFramePr>
        <p:xfrm>
          <a:off x="776535" y="1268759"/>
          <a:ext cx="8568953" cy="56129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35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99092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0781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42486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502307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/п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роприятие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и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ветственный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44158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рт проекта. Утверждение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остава проектной группы по внедрению проекта.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Январь 2020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министрация ОУ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44158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иагностика и подготовка оборудования школы для работы с приложением </a:t>
                      </a:r>
                      <a:r>
                        <a:rPr lang="en-US" sz="12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lickers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Январь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стемный администратор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44158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pPr marL="0" marR="0" lvl="0" indent="0" algn="just" defTabSz="6720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гистрация учителей на сайте </a:t>
                      </a:r>
                      <a:r>
                        <a:rPr lang="en-US" sz="12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lickers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algn="just"/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враль 2020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pPr marL="0" marR="0" lvl="0" indent="0" algn="l" defTabSz="6720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стемный администратор</a:t>
                      </a:r>
                    </a:p>
                  </a:txBody>
                  <a:tcPr marL="93297" marR="93297" marT="46649" marB="46649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44158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pPr marL="0" marR="0" lvl="0" indent="0" algn="just" defTabSz="6720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чее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овещание. Обучение навыкам работы с приложением </a:t>
                      </a:r>
                      <a:r>
                        <a:rPr lang="en-US" sz="12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lickers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враль 2020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министрация ОУ</a:t>
                      </a:r>
                    </a:p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стемный администратор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44158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pPr marL="0" marR="0" lvl="0" indent="0" algn="just" defTabSz="6720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качивание мобильного приложения </a:t>
                      </a:r>
                      <a:r>
                        <a:rPr lang="en-US" sz="12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lickers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algn="just"/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враль 2020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pPr marL="0" marR="0" lvl="0" indent="0" algn="l" defTabSz="6720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дагогические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аботники</a:t>
                      </a:r>
                      <a:endParaRPr lang="ru-RU" sz="12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621102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pPr marL="0" marR="0" lvl="0" indent="0" algn="l" defTabSz="6720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«классов» на сайте </a:t>
                      </a:r>
                      <a:r>
                        <a:rPr lang="en-US" sz="120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lickers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враль 2020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pPr marL="0" marR="0" lvl="0" indent="0" algn="l" defTabSz="67208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стемный администратор, педагогические работники</a:t>
                      </a:r>
                    </a:p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67214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готовка оценочных карточек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евраль 2020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дагогические работники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44158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сультации по работе с приложением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ходе реализации проекта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стемный администратор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85893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лизация проекта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рт – май 2020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дагогические работники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526157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нализ результатов внедрения проекта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й 2021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министрация ОУ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526157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. 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вещание по итогам реализации проекта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й 2020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  <a:tc>
                  <a:txBody>
                    <a:bodyPr/>
                    <a:lstStyle/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3297" marR="93297" marT="46649" marB="46649"/>
                </a:tc>
              </a:tr>
            </a:tbl>
          </a:graphicData>
        </a:graphic>
      </p:graphicFrame>
      <p:grpSp>
        <p:nvGrpSpPr>
          <p:cNvPr id="4" name="Группа 3"/>
          <p:cNvGrpSpPr/>
          <p:nvPr/>
        </p:nvGrpSpPr>
        <p:grpSpPr>
          <a:xfrm>
            <a:off x="-20825" y="159902"/>
            <a:ext cx="7661677" cy="887318"/>
            <a:chOff x="-116389" y="156635"/>
            <a:chExt cx="7331090" cy="738942"/>
          </a:xfrm>
        </p:grpSpPr>
        <p:sp>
          <p:nvSpPr>
            <p:cNvPr id="6" name="Скругленный прямоугольник 5"/>
            <p:cNvSpPr/>
            <p:nvPr/>
          </p:nvSpPr>
          <p:spPr>
            <a:xfrm>
              <a:off x="-114563" y="156635"/>
              <a:ext cx="7329264" cy="64807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smtClean="0">
                <a:gradFill flip="none" rotWithShape="1">
                  <a:gsLst>
                    <a:gs pos="0">
                      <a:schemeClr val="accent1">
                        <a:lumMod val="67000"/>
                      </a:schemeClr>
                    </a:gs>
                    <a:gs pos="48000">
                      <a:schemeClr val="accent1">
                        <a:lumMod val="97000"/>
                        <a:lumOff val="3000"/>
                      </a:schemeClr>
                    </a:gs>
                    <a:gs pos="100000">
                      <a:schemeClr val="accent1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</a:endParaRPr>
            </a:p>
          </p:txBody>
        </p:sp>
        <p:sp>
          <p:nvSpPr>
            <p:cNvPr id="7" name="Скругленный прямоугольник 6"/>
            <p:cNvSpPr/>
            <p:nvPr/>
          </p:nvSpPr>
          <p:spPr>
            <a:xfrm>
              <a:off x="-116389" y="219156"/>
              <a:ext cx="7249135" cy="676421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smtClean="0">
                <a:solidFill>
                  <a:srgbClr val="08486B"/>
                </a:solidFill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-106476" y="219155"/>
            <a:ext cx="7013004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Microsoft YaHei" pitchFamily="34" charset="-122"/>
                <a:cs typeface="Times New Roman" panose="02020603050405020304" pitchFamily="18" charset="0"/>
              </a:rPr>
              <a:t>ДОРОЖНАЯ КАРТАПО РЕАЛИЗАЦИИ ПРОЕКТА </a:t>
            </a:r>
          </a:p>
          <a:p>
            <a:pPr algn="ctr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Microsoft YaHei" pitchFamily="34" charset="-122"/>
                <a:cs typeface="Times New Roman" panose="02020603050405020304" pitchFamily="18" charset="0"/>
              </a:rPr>
              <a:t>«Оптимизация процесса проведения фронтального опроса и/или </a:t>
            </a:r>
          </a:p>
          <a:p>
            <a:pPr algn="ctr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Microsoft YaHei" pitchFamily="34" charset="-122"/>
                <a:cs typeface="Times New Roman" panose="02020603050405020304" pitchFamily="18" charset="0"/>
              </a:rPr>
              <a:t>тестирования с помощью использования приложения </a:t>
            </a:r>
            <a:r>
              <a:rPr lang="en-US" sz="1600" b="1" dirty="0" err="1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Microsoft YaHei" pitchFamily="34" charset="-122"/>
                <a:cs typeface="Times New Roman" panose="02020603050405020304" pitchFamily="18" charset="0"/>
              </a:rPr>
              <a:t>Plisckers</a:t>
            </a: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Microsoft YaHei" pitchFamily="34" charset="-122"/>
                <a:cs typeface="Times New Roman" panose="02020603050405020304" pitchFamily="18" charset="0"/>
              </a:rPr>
              <a:t>»</a:t>
            </a:r>
          </a:p>
          <a:p>
            <a:pPr algn="ctr"/>
            <a:endParaRPr lang="ru-RU" sz="2800" b="1" dirty="0">
              <a:solidFill>
                <a:schemeClr val="accent5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8596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0" y="58366"/>
            <a:ext cx="9906000" cy="6858000"/>
          </a:xfrm>
          <a:prstGeom prst="roundRect">
            <a:avLst/>
          </a:prstGeom>
          <a:solidFill>
            <a:schemeClr val="bg1"/>
          </a:solidFill>
          <a:ln w="571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51" dirty="0"/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3342025" y="447251"/>
            <a:ext cx="3033878" cy="274455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951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Учитель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092458" y="73247"/>
            <a:ext cx="5875391" cy="6927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951" b="1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а текущего состояния до реализации проекта</a:t>
            </a:r>
            <a:endParaRPr lang="ru-RU" sz="1951" b="1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951" dirty="0"/>
          </a:p>
        </p:txBody>
      </p:sp>
      <p:sp>
        <p:nvSpPr>
          <p:cNvPr id="6" name="Стрелка вниз 5"/>
          <p:cNvSpPr/>
          <p:nvPr/>
        </p:nvSpPr>
        <p:spPr>
          <a:xfrm>
            <a:off x="4835000" y="1043904"/>
            <a:ext cx="148652" cy="380361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51"/>
          </a:p>
        </p:txBody>
      </p:sp>
      <p:pic>
        <p:nvPicPr>
          <p:cNvPr id="5" name="Picture 6" descr="https://img2.freepng.ru/20180823/hrp/kisspng-computer-icons-education-vserossiyskoye-obshchestv-teacher-svg-png-icon-free-download-53295-onl-5b7f81662e2316.279069781535082854189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0679" y="738607"/>
            <a:ext cx="379699" cy="413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 descr="http://liontari.ru/wp-content/uploads/2019/01/%D0%B7%D0%BD%D0%B0%D1%87%D0%BE%D0%BA-%D0%B4%D0%BE%D0%BA%D1%83%D0%BC%D0%B5%D0%BD%D1%82%D1%8B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2302" y="1424265"/>
            <a:ext cx="401396" cy="40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Стрелка вниз 7"/>
          <p:cNvSpPr/>
          <p:nvPr/>
        </p:nvSpPr>
        <p:spPr>
          <a:xfrm>
            <a:off x="4130194" y="1852929"/>
            <a:ext cx="130425" cy="197642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51"/>
          </a:p>
        </p:txBody>
      </p:sp>
      <p:sp>
        <p:nvSpPr>
          <p:cNvPr id="9" name="Стрелка вниз 8"/>
          <p:cNvSpPr/>
          <p:nvPr/>
        </p:nvSpPr>
        <p:spPr>
          <a:xfrm>
            <a:off x="4496675" y="1848020"/>
            <a:ext cx="130425" cy="197642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51"/>
          </a:p>
        </p:txBody>
      </p:sp>
      <p:sp>
        <p:nvSpPr>
          <p:cNvPr id="10" name="Стрелка вниз 9"/>
          <p:cNvSpPr/>
          <p:nvPr/>
        </p:nvSpPr>
        <p:spPr>
          <a:xfrm>
            <a:off x="4862572" y="1848020"/>
            <a:ext cx="130425" cy="197642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51"/>
          </a:p>
        </p:txBody>
      </p:sp>
      <p:sp>
        <p:nvSpPr>
          <p:cNvPr id="11" name="Стрелка вниз 10"/>
          <p:cNvSpPr/>
          <p:nvPr/>
        </p:nvSpPr>
        <p:spPr>
          <a:xfrm>
            <a:off x="5212317" y="1852929"/>
            <a:ext cx="130425" cy="197642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51"/>
          </a:p>
        </p:txBody>
      </p:sp>
      <p:sp>
        <p:nvSpPr>
          <p:cNvPr id="12" name="Стрелка вниз 11"/>
          <p:cNvSpPr/>
          <p:nvPr/>
        </p:nvSpPr>
        <p:spPr>
          <a:xfrm>
            <a:off x="5595229" y="1853752"/>
            <a:ext cx="130425" cy="197642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51"/>
          </a:p>
        </p:txBody>
      </p:sp>
      <p:pic>
        <p:nvPicPr>
          <p:cNvPr id="13" name="Picture 8" descr="http://liontari.ru/wp-content/uploads/2019/01/%D0%B7%D0%BD%D0%B0%D1%87%D0%BE%D0%BA-%D0%B4%D0%BE%D0%BA%D1%83%D0%BC%D0%B5%D0%BD%D1%82%D1%8B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4218" y="2090077"/>
            <a:ext cx="222374" cy="222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8" descr="http://liontari.ru/wp-content/uploads/2019/01/%D0%B7%D0%BD%D0%B0%D1%87%D0%BE%D0%BA-%D0%B4%D0%BE%D0%BA%D1%83%D0%BC%D0%B5%D0%BD%D1%82%D1%8B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0700" y="2088282"/>
            <a:ext cx="222374" cy="222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8" descr="http://liontari.ru/wp-content/uploads/2019/01/%D0%B7%D0%BD%D0%B0%D1%87%D0%BE%D0%BA-%D0%B4%D0%BE%D0%BA%D1%83%D0%BC%D0%B5%D0%BD%D1%82%D1%8B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2881" y="2088282"/>
            <a:ext cx="222374" cy="222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8" descr="http://liontari.ru/wp-content/uploads/2019/01/%D0%B7%D0%BD%D0%B0%D1%87%D0%BE%D0%BA-%D0%B4%D0%BE%D0%BA%D1%83%D0%BC%D0%B5%D0%BD%D1%82%D1%8B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2450" y="2090077"/>
            <a:ext cx="222374" cy="222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8" descr="http://liontari.ru/wp-content/uploads/2019/01/%D0%B7%D0%BD%D0%B0%D1%87%D0%BE%D0%BA-%D0%B4%D0%BE%D0%BA%D1%83%D0%BC%D0%B5%D0%BD%D1%82%D1%8B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5229" y="2090077"/>
            <a:ext cx="222374" cy="222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Стрелка вниз 22"/>
          <p:cNvSpPr/>
          <p:nvPr/>
        </p:nvSpPr>
        <p:spPr>
          <a:xfrm rot="19642634">
            <a:off x="4216562" y="3089240"/>
            <a:ext cx="211296" cy="381360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51"/>
          </a:p>
        </p:txBody>
      </p:sp>
      <p:sp>
        <p:nvSpPr>
          <p:cNvPr id="24" name="Стрелка вниз 23"/>
          <p:cNvSpPr/>
          <p:nvPr/>
        </p:nvSpPr>
        <p:spPr>
          <a:xfrm>
            <a:off x="4487330" y="3090099"/>
            <a:ext cx="233349" cy="363324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51"/>
          </a:p>
        </p:txBody>
      </p:sp>
      <p:sp>
        <p:nvSpPr>
          <p:cNvPr id="28" name="Стрелка вниз 27"/>
          <p:cNvSpPr/>
          <p:nvPr/>
        </p:nvSpPr>
        <p:spPr>
          <a:xfrm>
            <a:off x="4750302" y="3077811"/>
            <a:ext cx="233349" cy="363324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51"/>
          </a:p>
        </p:txBody>
      </p:sp>
      <p:sp>
        <p:nvSpPr>
          <p:cNvPr id="29" name="Стрелка вниз 28"/>
          <p:cNvSpPr/>
          <p:nvPr/>
        </p:nvSpPr>
        <p:spPr>
          <a:xfrm>
            <a:off x="5056295" y="3077810"/>
            <a:ext cx="233349" cy="363324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51"/>
          </a:p>
        </p:txBody>
      </p:sp>
      <p:sp>
        <p:nvSpPr>
          <p:cNvPr id="30" name="Стрелка вниз 29"/>
          <p:cNvSpPr/>
          <p:nvPr/>
        </p:nvSpPr>
        <p:spPr>
          <a:xfrm rot="12652303" flipH="1" flipV="1">
            <a:off x="5338507" y="3031757"/>
            <a:ext cx="212360" cy="431708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51"/>
          </a:p>
        </p:txBody>
      </p:sp>
      <p:pic>
        <p:nvPicPr>
          <p:cNvPr id="31" name="Picture 6" descr="https://img2.freepng.ru/20180823/hrp/kisspng-computer-icons-education-vserossiyskoye-obshchestv-teacher-svg-png-icon-free-download-53295-onl-5b7f81662e2316.279069781535082854189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7488" y="3468866"/>
            <a:ext cx="560340" cy="610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8662" name="Picture 6" descr="https://insuranceexperts.ru/assets/templates/insuranceexperts/assets/uploads/auto_examination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1440" y="4289428"/>
            <a:ext cx="732258" cy="732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Скругленный прямоугольник 33"/>
          <p:cNvSpPr/>
          <p:nvPr/>
        </p:nvSpPr>
        <p:spPr>
          <a:xfrm>
            <a:off x="3436060" y="2346118"/>
            <a:ext cx="3033878" cy="274455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951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бучающиеся</a:t>
            </a:r>
          </a:p>
        </p:txBody>
      </p:sp>
      <p:pic>
        <p:nvPicPr>
          <p:cNvPr id="198658" name="Picture 2" descr="https://pictogram-free.com/material/203-pictogram-free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07" r="29254" b="3067"/>
          <a:stretch/>
        </p:blipFill>
        <p:spPr bwMode="auto">
          <a:xfrm>
            <a:off x="4122896" y="2579660"/>
            <a:ext cx="275445" cy="475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https://pictogram-free.com/material/203-pictogram-free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07" r="29254" b="3067"/>
          <a:stretch/>
        </p:blipFill>
        <p:spPr bwMode="auto">
          <a:xfrm>
            <a:off x="4457040" y="2579660"/>
            <a:ext cx="275445" cy="475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https://pictogram-free.com/material/203-pictogram-free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07" r="29254" b="3067"/>
          <a:stretch/>
        </p:blipFill>
        <p:spPr bwMode="auto">
          <a:xfrm>
            <a:off x="4773128" y="2581503"/>
            <a:ext cx="275445" cy="475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https://pictogram-free.com/material/203-pictogram-free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07" r="29254" b="3067"/>
          <a:stretch/>
        </p:blipFill>
        <p:spPr bwMode="auto">
          <a:xfrm>
            <a:off x="5067880" y="2579660"/>
            <a:ext cx="275445" cy="475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https://pictogram-free.com/material/203-pictogram-free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07" r="29254" b="3067"/>
          <a:stretch/>
        </p:blipFill>
        <p:spPr bwMode="auto">
          <a:xfrm>
            <a:off x="5389863" y="2576793"/>
            <a:ext cx="275445" cy="475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Скругленный прямоугольник 34"/>
          <p:cNvSpPr/>
          <p:nvPr/>
        </p:nvSpPr>
        <p:spPr>
          <a:xfrm>
            <a:off x="934545" y="1270847"/>
            <a:ext cx="2245644" cy="306835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122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Учитель р</a:t>
            </a:r>
            <a:r>
              <a:rPr lang="ru-RU" sz="107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зрабатывает тест</a:t>
            </a: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913325" y="1658672"/>
            <a:ext cx="2266864" cy="727751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122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У. р</a:t>
            </a:r>
            <a:r>
              <a:rPr lang="ru-RU" sz="107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спечатывает бланк с тестированием в соответствии с количеством обучающихся. </a:t>
            </a: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904649" y="2554599"/>
            <a:ext cx="2275540" cy="306835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122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У. раздаёт на уроке каждому обучающему</a:t>
            </a:r>
            <a:endParaRPr lang="ru-RU" sz="107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908046" y="2973086"/>
            <a:ext cx="2272143" cy="306835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122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 Обучающиеся работают с тестированием. </a:t>
            </a:r>
            <a:endParaRPr lang="ru-RU" sz="107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916721" y="3392611"/>
            <a:ext cx="2263468" cy="306835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122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. О. сдают бланки с ответами учителю</a:t>
            </a:r>
            <a:endParaRPr lang="ru-RU" sz="107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916722" y="3811098"/>
            <a:ext cx="2263467" cy="1040943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122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Учитель  проверяет тесты, фиксирует результаты, анализирует тестирование в целом.</a:t>
            </a:r>
            <a:endParaRPr lang="ru-RU" sz="107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Стрелка вниз 40"/>
          <p:cNvSpPr/>
          <p:nvPr/>
        </p:nvSpPr>
        <p:spPr>
          <a:xfrm>
            <a:off x="4801764" y="4106744"/>
            <a:ext cx="130425" cy="197642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51"/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6633436" y="1243548"/>
            <a:ext cx="2762957" cy="3778137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sz="1428" b="1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1428" b="1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ечень проблем</a:t>
            </a:r>
            <a:r>
              <a:rPr lang="ru-RU" sz="1428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marL="291551" indent="-291551" algn="just">
              <a:buFontTx/>
              <a:buChar char="-"/>
            </a:pPr>
            <a:r>
              <a:rPr lang="ru-RU" sz="1428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и использовании распечатанных опросов и тестов идет расход бумаги, краски;</a:t>
            </a:r>
          </a:p>
          <a:p>
            <a:pPr marL="291551" indent="-291551" algn="just">
              <a:buFontTx/>
              <a:buChar char="-"/>
            </a:pPr>
            <a:r>
              <a:rPr lang="ru-RU" sz="1428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ля выведения информации необходимо наличие принтера;</a:t>
            </a:r>
          </a:p>
          <a:p>
            <a:pPr marL="291551" indent="-291551" algn="just">
              <a:buFontTx/>
              <a:buChar char="-"/>
            </a:pPr>
            <a:r>
              <a:rPr lang="ru-RU" sz="1428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ольшое количество времени тратится педагогом для проверки, фиксирования и анализа полученных результатов.</a:t>
            </a:r>
          </a:p>
          <a:p>
            <a:pPr marL="291551" indent="-291551" algn="just">
              <a:buFontTx/>
              <a:buChar char="-"/>
            </a:pPr>
            <a:endParaRPr lang="ru-RU" sz="1428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291551" indent="-291551" algn="ctr">
              <a:buFontTx/>
              <a:buChar char="-"/>
            </a:pPr>
            <a:endParaRPr lang="ru-RU" sz="1951" dirty="0"/>
          </a:p>
        </p:txBody>
      </p:sp>
      <p:sp>
        <p:nvSpPr>
          <p:cNvPr id="43" name="Пятно 1 42"/>
          <p:cNvSpPr/>
          <p:nvPr/>
        </p:nvSpPr>
        <p:spPr>
          <a:xfrm>
            <a:off x="3052083" y="2900572"/>
            <a:ext cx="811672" cy="717068"/>
          </a:xfrm>
          <a:prstGeom prst="irregularSeal1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16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175020" y="3081081"/>
            <a:ext cx="739142" cy="350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16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 15 </a:t>
            </a:r>
            <a:r>
              <a:rPr lang="ru-RU" sz="816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/</a:t>
            </a:r>
          </a:p>
          <a:p>
            <a:r>
              <a:rPr lang="ru-RU" sz="816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ст</a:t>
            </a:r>
            <a:endParaRPr lang="ru-RU" sz="1951" b="1" dirty="0"/>
          </a:p>
        </p:txBody>
      </p:sp>
      <p:sp>
        <p:nvSpPr>
          <p:cNvPr id="46" name="Пятно 1 45"/>
          <p:cNvSpPr/>
          <p:nvPr/>
        </p:nvSpPr>
        <p:spPr>
          <a:xfrm>
            <a:off x="3075294" y="4391495"/>
            <a:ext cx="886799" cy="763673"/>
          </a:xfrm>
          <a:prstGeom prst="irregularSeal1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16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256880" y="4579942"/>
            <a:ext cx="739142" cy="350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16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 75 </a:t>
            </a:r>
            <a:r>
              <a:rPr lang="ru-RU" sz="816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/</a:t>
            </a:r>
          </a:p>
          <a:p>
            <a:r>
              <a:rPr lang="ru-RU" sz="816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ст</a:t>
            </a:r>
            <a:endParaRPr lang="ru-RU" sz="1951" b="1" dirty="0"/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3015044" y="5303526"/>
            <a:ext cx="3660794" cy="911276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89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951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ход времени</a:t>
            </a:r>
            <a:r>
              <a:rPr lang="ru-RU" sz="195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195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 90 минут для проведения одного теста</a:t>
            </a:r>
            <a:endParaRPr lang="ru-RU" sz="195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69014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0" y="0"/>
            <a:ext cx="9906000" cy="6858000"/>
          </a:xfrm>
          <a:prstGeom prst="roundRect">
            <a:avLst/>
          </a:prstGeom>
          <a:solidFill>
            <a:schemeClr val="bg1"/>
          </a:solidFill>
          <a:ln w="571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51" dirty="0"/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3342025" y="447251"/>
            <a:ext cx="3033878" cy="274455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951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Учитель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394015" y="19689"/>
            <a:ext cx="3117969" cy="6927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951" b="1" dirty="0" smtClean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а целевого состояния</a:t>
            </a:r>
            <a:endParaRPr lang="ru-RU" sz="1951" b="1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1951" dirty="0"/>
          </a:p>
        </p:txBody>
      </p:sp>
      <p:sp>
        <p:nvSpPr>
          <p:cNvPr id="6" name="Стрелка вниз 5"/>
          <p:cNvSpPr/>
          <p:nvPr/>
        </p:nvSpPr>
        <p:spPr>
          <a:xfrm>
            <a:off x="4835000" y="1043904"/>
            <a:ext cx="148652" cy="380361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51"/>
          </a:p>
        </p:txBody>
      </p:sp>
      <p:pic>
        <p:nvPicPr>
          <p:cNvPr id="5" name="Picture 6" descr="https://img2.freepng.ru/20180823/hrp/kisspng-computer-icons-education-vserossiyskoye-obshchestv-teacher-svg-png-icon-free-download-53295-onl-5b7f81662e2316.279069781535082854189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0679" y="738607"/>
            <a:ext cx="379699" cy="413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 descr="http://liontari.ru/wp-content/uploads/2019/01/%D0%B7%D0%BD%D0%B0%D1%87%D0%BE%D0%BA-%D0%B4%D0%BE%D0%BA%D1%83%D0%BC%D0%B5%D0%BD%D1%82%D1%8B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7536" y="1424265"/>
            <a:ext cx="401396" cy="40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Стрелка вниз 9"/>
          <p:cNvSpPr/>
          <p:nvPr/>
        </p:nvSpPr>
        <p:spPr>
          <a:xfrm>
            <a:off x="4862572" y="1848020"/>
            <a:ext cx="130425" cy="197642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51"/>
          </a:p>
        </p:txBody>
      </p:sp>
      <p:sp>
        <p:nvSpPr>
          <p:cNvPr id="29" name="Стрелка вниз 28"/>
          <p:cNvSpPr/>
          <p:nvPr/>
        </p:nvSpPr>
        <p:spPr>
          <a:xfrm>
            <a:off x="4832237" y="3485962"/>
            <a:ext cx="243270" cy="370133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51"/>
          </a:p>
        </p:txBody>
      </p:sp>
      <p:pic>
        <p:nvPicPr>
          <p:cNvPr id="31" name="Picture 6" descr="https://img2.freepng.ru/20180823/hrp/kisspng-computer-icons-education-vserossiyskoye-obshchestv-teacher-svg-png-icon-free-download-53295-onl-5b7f81662e2316.279069781535082854189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8635" y="3963661"/>
            <a:ext cx="477801" cy="520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8662" name="Picture 6" descr="https://insuranceexperts.ru/assets/templates/insuranceexperts/assets/uploads/auto_examination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547" y="4772834"/>
            <a:ext cx="732258" cy="732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Скругленный прямоугольник 33"/>
          <p:cNvSpPr/>
          <p:nvPr/>
        </p:nvSpPr>
        <p:spPr>
          <a:xfrm>
            <a:off x="3436934" y="2616837"/>
            <a:ext cx="3033878" cy="274455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951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бучающиеся</a:t>
            </a:r>
          </a:p>
        </p:txBody>
      </p:sp>
      <p:pic>
        <p:nvPicPr>
          <p:cNvPr id="198658" name="Picture 2" descr="https://pictogram-free.com/material/203-pictogram-free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07" r="29254" b="3067"/>
          <a:stretch/>
        </p:blipFill>
        <p:spPr bwMode="auto">
          <a:xfrm>
            <a:off x="4557130" y="2992865"/>
            <a:ext cx="275445" cy="475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Скругленный прямоугольник 34"/>
          <p:cNvSpPr/>
          <p:nvPr/>
        </p:nvSpPr>
        <p:spPr>
          <a:xfrm>
            <a:off x="934545" y="1270847"/>
            <a:ext cx="2245644" cy="306835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122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Учитель р</a:t>
            </a:r>
            <a:r>
              <a:rPr lang="ru-RU" sz="107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зрабатывает тест</a:t>
            </a: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913325" y="1658672"/>
            <a:ext cx="2266864" cy="727751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122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У. выводит на экран вопросы  тестирования.  </a:t>
            </a:r>
            <a:endParaRPr lang="ru-RU" sz="107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928213" y="2467411"/>
            <a:ext cx="2238929" cy="797596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122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Обучающиеся отвечают на вопросы с помощью специальных карточек с </a:t>
            </a:r>
            <a:r>
              <a:rPr lang="en-US" sz="1122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R </a:t>
            </a:r>
            <a:r>
              <a:rPr lang="ru-RU" sz="1122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дами. </a:t>
            </a:r>
            <a:endParaRPr lang="ru-RU" sz="107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908045" y="3324301"/>
            <a:ext cx="2259097" cy="715469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122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 Учитель сканирует карточки с ответами с помощью приложения </a:t>
            </a:r>
            <a:r>
              <a:rPr lang="en-US" sz="1122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lisckers</a:t>
            </a:r>
            <a:r>
              <a:rPr lang="en-US" sz="1122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22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мобильном телефоне. </a:t>
            </a:r>
            <a:endParaRPr lang="ru-RU" sz="107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915022" y="4121853"/>
            <a:ext cx="2252120" cy="780131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122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. Приложение диагностирует ответы. Результаты тестирования выводятся на экран. </a:t>
            </a:r>
            <a:endParaRPr lang="ru-RU" sz="107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903676" y="4977649"/>
            <a:ext cx="2276513" cy="500857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122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Учитель  распечатывает отчет по итогам тестирования</a:t>
            </a:r>
            <a:endParaRPr lang="ru-RU" sz="107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Стрелка вниз 40"/>
          <p:cNvSpPr/>
          <p:nvPr/>
        </p:nvSpPr>
        <p:spPr>
          <a:xfrm>
            <a:off x="5243522" y="4483932"/>
            <a:ext cx="130425" cy="288901"/>
          </a:xfrm>
          <a:prstGeom prst="downArrow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rgbClr val="D4DE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51"/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6633436" y="1243548"/>
            <a:ext cx="2762957" cy="3778137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b="100000"/>
            </a:path>
            <a:tileRect t="-100000" r="-10000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sz="1428" b="1" dirty="0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1428" b="1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ечень улучшений</a:t>
            </a:r>
            <a:r>
              <a:rPr lang="ru-RU" sz="1428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marL="291551" indent="-291551" algn="just">
              <a:buFontTx/>
              <a:buChar char="-"/>
            </a:pPr>
            <a:r>
              <a:rPr lang="ru-RU" sz="1428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начительно снижается расход бумаги, краски;</a:t>
            </a:r>
          </a:p>
          <a:p>
            <a:pPr algn="just"/>
            <a:r>
              <a:rPr lang="ru-RU" sz="1428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     Наличие принтера необязательно;</a:t>
            </a:r>
          </a:p>
          <a:p>
            <a:pPr marL="291551" indent="-291551" algn="just">
              <a:buFontTx/>
              <a:buChar char="-"/>
            </a:pPr>
            <a:r>
              <a:rPr lang="ru-RU" sz="1428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верка и  фиксирование,  анализ полученных результатов тестирования осуществляется в режиме он-</a:t>
            </a:r>
            <a:r>
              <a:rPr lang="ru-RU" sz="1428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лайн</a:t>
            </a:r>
            <a:r>
              <a:rPr lang="ru-RU" sz="1428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Затраты времени учителя значительно сокращаются. </a:t>
            </a:r>
          </a:p>
          <a:p>
            <a:pPr marL="291551" indent="-291551" algn="ctr">
              <a:buFontTx/>
              <a:buChar char="-"/>
            </a:pPr>
            <a:endParaRPr lang="ru-RU" sz="1951" dirty="0"/>
          </a:p>
        </p:txBody>
      </p:sp>
      <p:pic>
        <p:nvPicPr>
          <p:cNvPr id="25" name="Picture 2" descr="http://cdn.onlinewebfonts.com/svg/img_62647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6292" y="2055881"/>
            <a:ext cx="595163" cy="527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8660" name="Picture 4" descr="https://images-na.ssl-images-amazon.com/images/I/814Kkc%2BBzwL._SL1500_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178" y="2969193"/>
            <a:ext cx="519041" cy="517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6" descr="https://im0-tub-ru.yandex.net/i?id=53ed4b8dcaaf929e99e226fdb1d4a96b&amp;n=33&amp;w=150&amp;h=15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6324" y="3911216"/>
            <a:ext cx="600701" cy="600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Пятно 1 45"/>
          <p:cNvSpPr/>
          <p:nvPr/>
        </p:nvSpPr>
        <p:spPr>
          <a:xfrm>
            <a:off x="3034431" y="2852388"/>
            <a:ext cx="546900" cy="534360"/>
          </a:xfrm>
          <a:prstGeom prst="irregularSeal1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16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3116389" y="2967503"/>
            <a:ext cx="739142" cy="350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16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 мин/</a:t>
            </a:r>
          </a:p>
          <a:p>
            <a:r>
              <a:rPr lang="ru-RU" sz="816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ст</a:t>
            </a:r>
            <a:endParaRPr lang="ru-RU" sz="1951" dirty="0"/>
          </a:p>
        </p:txBody>
      </p:sp>
      <p:sp>
        <p:nvSpPr>
          <p:cNvPr id="48" name="Пятно 1 47"/>
          <p:cNvSpPr/>
          <p:nvPr/>
        </p:nvSpPr>
        <p:spPr>
          <a:xfrm>
            <a:off x="3065567" y="3638518"/>
            <a:ext cx="546900" cy="534360"/>
          </a:xfrm>
          <a:prstGeom prst="irregularSeal1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16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147525" y="3753633"/>
            <a:ext cx="739142" cy="350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16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мин/</a:t>
            </a:r>
          </a:p>
          <a:p>
            <a:r>
              <a:rPr lang="ru-RU" sz="816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ст</a:t>
            </a:r>
            <a:endParaRPr lang="ru-RU" sz="1951" dirty="0"/>
          </a:p>
        </p:txBody>
      </p:sp>
      <p:sp>
        <p:nvSpPr>
          <p:cNvPr id="50" name="Пятно 1 49"/>
          <p:cNvSpPr/>
          <p:nvPr/>
        </p:nvSpPr>
        <p:spPr>
          <a:xfrm>
            <a:off x="3052469" y="4625779"/>
            <a:ext cx="546900" cy="534360"/>
          </a:xfrm>
          <a:prstGeom prst="irregularSeal1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16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134427" y="4740894"/>
            <a:ext cx="739142" cy="3504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16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 мин/</a:t>
            </a:r>
          </a:p>
          <a:p>
            <a:r>
              <a:rPr lang="ru-RU" sz="816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ст</a:t>
            </a:r>
            <a:endParaRPr lang="ru-RU" sz="1951" dirty="0"/>
          </a:p>
        </p:txBody>
      </p:sp>
      <p:sp>
        <p:nvSpPr>
          <p:cNvPr id="52" name="Скругленный прямоугольник 51"/>
          <p:cNvSpPr/>
          <p:nvPr/>
        </p:nvSpPr>
        <p:spPr>
          <a:xfrm>
            <a:off x="3324504" y="5820364"/>
            <a:ext cx="3512779" cy="725615"/>
          </a:xfrm>
          <a:prstGeom prst="round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89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951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ход времени</a:t>
            </a:r>
            <a:r>
              <a:rPr lang="ru-RU" sz="195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195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Symbol" panose="05050102010706020507" pitchFamily="18" charset="2"/>
              </a:rPr>
              <a:t> 16 минут для проведения одного теста</a:t>
            </a:r>
            <a:endParaRPr lang="ru-RU" sz="195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3049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0" y="144423"/>
            <a:ext cx="7661677" cy="887318"/>
            <a:chOff x="-116389" y="156635"/>
            <a:chExt cx="7331090" cy="738942"/>
          </a:xfrm>
        </p:grpSpPr>
        <p:sp>
          <p:nvSpPr>
            <p:cNvPr id="6" name="Скругленный прямоугольник 5"/>
            <p:cNvSpPr/>
            <p:nvPr/>
          </p:nvSpPr>
          <p:spPr>
            <a:xfrm>
              <a:off x="-114563" y="156635"/>
              <a:ext cx="7329264" cy="648072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smtClean="0">
                <a:gradFill flip="none" rotWithShape="1">
                  <a:gsLst>
                    <a:gs pos="0">
                      <a:schemeClr val="accent1">
                        <a:lumMod val="67000"/>
                      </a:schemeClr>
                    </a:gs>
                    <a:gs pos="48000">
                      <a:schemeClr val="accent1">
                        <a:lumMod val="97000"/>
                        <a:lumOff val="3000"/>
                      </a:schemeClr>
                    </a:gs>
                    <a:gs pos="100000">
                      <a:schemeClr val="accent1">
                        <a:lumMod val="60000"/>
                        <a:lumOff val="40000"/>
                      </a:schemeClr>
                    </a:gs>
                  </a:gsLst>
                  <a:lin ang="16200000" scaled="1"/>
                  <a:tileRect/>
                </a:gradFill>
              </a:endParaRPr>
            </a:p>
          </p:txBody>
        </p:sp>
        <p:sp>
          <p:nvSpPr>
            <p:cNvPr id="7" name="Скругленный прямоугольник 6"/>
            <p:cNvSpPr/>
            <p:nvPr/>
          </p:nvSpPr>
          <p:spPr>
            <a:xfrm>
              <a:off x="-116389" y="219156"/>
              <a:ext cx="7249135" cy="676421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smtClean="0">
                <a:solidFill>
                  <a:srgbClr val="08486B"/>
                </a:solidFill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128464" y="171586"/>
            <a:ext cx="701300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sz="1600" b="1" dirty="0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Microsoft YaHei" pitchFamily="34" charset="-122"/>
                <a:cs typeface="Times New Roman" panose="02020603050405020304" pitchFamily="18" charset="0"/>
              </a:rPr>
              <a:t>Анализ эффективности проекта «</a:t>
            </a: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Microsoft YaHei" pitchFamily="34" charset="-122"/>
                <a:cs typeface="Times New Roman" panose="02020603050405020304" pitchFamily="18" charset="0"/>
              </a:rPr>
              <a:t>Оптимизация процесса проведения фронтального опроса и/или </a:t>
            </a:r>
            <a:r>
              <a:rPr lang="ru-RU" sz="1600" b="1" dirty="0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Microsoft YaHei" pitchFamily="34" charset="-122"/>
                <a:cs typeface="Times New Roman" panose="02020603050405020304" pitchFamily="18" charset="0"/>
              </a:rPr>
              <a:t>тестирования </a:t>
            </a:r>
            <a:r>
              <a:rPr lang="ru-RU" sz="1600" b="1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Microsoft YaHei" pitchFamily="34" charset="-122"/>
                <a:cs typeface="Times New Roman" panose="02020603050405020304" pitchFamily="18" charset="0"/>
              </a:rPr>
              <a:t>с помощью использования приложения </a:t>
            </a:r>
            <a:r>
              <a:rPr lang="en-US" sz="1600" b="1" dirty="0" err="1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Microsoft YaHei" pitchFamily="34" charset="-122"/>
                <a:cs typeface="Times New Roman" panose="02020603050405020304" pitchFamily="18" charset="0"/>
              </a:rPr>
              <a:t>Plisckers</a:t>
            </a:r>
            <a:r>
              <a:rPr lang="ru-RU" sz="1600" b="1" dirty="0" smtClean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Microsoft YaHei" pitchFamily="34" charset="-122"/>
                <a:cs typeface="Times New Roman" panose="02020603050405020304" pitchFamily="18" charset="0"/>
              </a:rPr>
              <a:t>»</a:t>
            </a:r>
            <a:endParaRPr lang="ru-RU" sz="1600" b="1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Microsoft YaHei" pitchFamily="34" charset="-122"/>
              <a:cs typeface="Times New Roman" panose="02020603050405020304" pitchFamily="18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2076525"/>
              </p:ext>
            </p:extLst>
          </p:nvPr>
        </p:nvGraphicFramePr>
        <p:xfrm>
          <a:off x="2689947" y="1340768"/>
          <a:ext cx="6661150" cy="47548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61847"/>
                <a:gridCol w="3240113"/>
                <a:gridCol w="1529278"/>
                <a:gridCol w="1529912"/>
              </a:tblGrid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тапы подготовки и реализации тестирования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ремя, затраченное без использования приложения Plickers, мин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ремя, затраченное </a:t>
                      </a:r>
                    </a:p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использованием приложения Plickers, мин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и конструирование теста, т.е. выбор определенных видов тестовых вопросов и заданий с учетом определенных требований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лучение участниками образовательного процесса материалов тест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стирование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дача 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частниками образовательного процесса материалов теста педагогу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аботка теста, т.е. проверка с помощью ключа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нализ результатов теста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бликация результатов тестирования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4</a:t>
                      </a:r>
                      <a:endParaRPr lang="ru-RU" sz="16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</a:t>
                      </a:r>
                      <a:endParaRPr lang="ru-RU" sz="16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pic>
        <p:nvPicPr>
          <p:cNvPr id="53252" name="Picture 4" descr="https://www.riakchr.ru/upload/iblock/35f/35fa6eeb934504acf59f4bf400b4f75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9568" y="4653136"/>
            <a:ext cx="2867183" cy="2204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272480" y="1689616"/>
            <a:ext cx="208823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мечание:</a:t>
            </a:r>
          </a:p>
          <a:p>
            <a:r>
              <a:rPr lang="ru-RU" sz="1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учеников в классе – 10</a:t>
            </a:r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</a:p>
          <a:p>
            <a:r>
              <a:rPr lang="ru-RU" sz="16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вопросов в тесте – 5</a:t>
            </a:r>
          </a:p>
        </p:txBody>
      </p:sp>
    </p:spTree>
    <p:extLst>
      <p:ext uri="{BB962C8B-B14F-4D97-AF65-F5344CB8AC3E}">
        <p14:creationId xmlns:p14="http://schemas.microsoft.com/office/powerpoint/2010/main" val="7000808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0.Np9FKkiACmG8RcJqs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pyyPOQ0Gf0MTzrYJs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3SYCTaUKOnjZRTBQy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V2YTtzw0aExVOQhGcyw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P89GHJXEu2ccsW_oni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OE4sw5UU6VWVXbqpUf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BJsoJjB0COR7VSmvrR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rIakPhT0KS.Bn1qDzPb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rIakPhT0KS.Bn1qDzPb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T4MqGwvUCr2WSBvW8yx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T4MqGwvUCr2WSBvW8yx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0.Np9FKkiACmG8RcJqs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pyyPOQ0Gf0MTzrYJs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3SYCTaUKOnjZRTBQyn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V2YTtzw0aExVOQhGcyw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P89GHJXEu2ccsW_onis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OE4sw5UU6VWVXbqpUfh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BJsoJjB0COR7VSmvrRn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heme/theme1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7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8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9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0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-default">
  <a:themeElements>
    <a:clrScheme name="Custom 2">
      <a:dk1>
        <a:srgbClr val="414142"/>
      </a:dk1>
      <a:lt1>
        <a:srgbClr val="FFFFFF"/>
      </a:lt1>
      <a:dk2>
        <a:srgbClr val="08486B"/>
      </a:dk2>
      <a:lt2>
        <a:srgbClr val="808080"/>
      </a:lt2>
      <a:accent1>
        <a:srgbClr val="F37D07"/>
      </a:accent1>
      <a:accent2>
        <a:srgbClr val="0D6186"/>
      </a:accent2>
      <a:accent3>
        <a:srgbClr val="90CDD7"/>
      </a:accent3>
      <a:accent4>
        <a:srgbClr val="0F7C9C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Office Classic 2">
      <a:majorFont>
        <a:latin typeface="Microsoft Sans Serif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icrosoft Sans Serif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Mod val="40000"/>
            <a:lumOff val="60000"/>
          </a:schemeClr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rgbClr val="08486B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 корпоративной презентации  PowerPoint без надстройки</Template>
  <TotalTime>24988</TotalTime>
  <Words>1326</Words>
  <Application>Microsoft Office PowerPoint</Application>
  <PresentationFormat>Лист A4 (210x297 мм)</PresentationFormat>
  <Paragraphs>306</Paragraphs>
  <Slides>13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38" baseType="lpstr">
      <vt:lpstr>Arial Unicode MS</vt:lpstr>
      <vt:lpstr>Microsoft YaHei</vt:lpstr>
      <vt:lpstr>Microsoft YaHei</vt:lpstr>
      <vt:lpstr>ＭＳ Ｐゴシック</vt:lpstr>
      <vt:lpstr>Arial</vt:lpstr>
      <vt:lpstr>Calibri</vt:lpstr>
      <vt:lpstr>Microsoft Sans Serif</vt:lpstr>
      <vt:lpstr>Symbol</vt:lpstr>
      <vt:lpstr>Times New Roman</vt:lpstr>
      <vt:lpstr>Wingdings</vt:lpstr>
      <vt:lpstr>Специальное оформление</vt:lpstr>
      <vt:lpstr>b-default</vt:lpstr>
      <vt:lpstr>Firm Format - Russian</vt:lpstr>
      <vt:lpstr>1_Firm Format - Russian</vt:lpstr>
      <vt:lpstr>1_b-default</vt:lpstr>
      <vt:lpstr>2_b-default</vt:lpstr>
      <vt:lpstr>3_b-default</vt:lpstr>
      <vt:lpstr>4_b-default</vt:lpstr>
      <vt:lpstr>5_b-default</vt:lpstr>
      <vt:lpstr>6_b-default</vt:lpstr>
      <vt:lpstr>7_b-default</vt:lpstr>
      <vt:lpstr>8_b-default</vt:lpstr>
      <vt:lpstr>9_b-default</vt:lpstr>
      <vt:lpstr>10_b-default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lexander V. Romashkin</dc:creator>
  <cp:lastModifiedBy>Учитель к10</cp:lastModifiedBy>
  <cp:revision>1614</cp:revision>
  <cp:lastPrinted>2017-10-20T09:24:23Z</cp:lastPrinted>
  <dcterms:created xsi:type="dcterms:W3CDTF">2015-03-06T06:22:34Z</dcterms:created>
  <dcterms:modified xsi:type="dcterms:W3CDTF">2021-03-17T06:51:33Z</dcterms:modified>
</cp:coreProperties>
</file>